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>
  <p:sldMasterIdLst>
    <p:sldMasterId id="2147483648" r:id="rId1"/>
  </p:sldMasterIdLst>
  <p:notesMasterIdLst>
    <p:notesMasterId r:id="rId10"/>
  </p:notesMasterIdLst>
  <p:sldIdLst>
    <p:sldId id="256" r:id="rId2"/>
    <p:sldId id="267" r:id="rId3"/>
    <p:sldId id="268" r:id="rId4"/>
    <p:sldId id="259" r:id="rId5"/>
    <p:sldId id="270" r:id="rId6"/>
    <p:sldId id="271" r:id="rId7"/>
    <p:sldId id="257" r:id="rId8"/>
    <p:sldId id="265" r:id="rId9"/>
  </p:sldIdLst>
  <p:sldSz cx="12192000" cy="6858000"/>
  <p:notesSz cx="6858000" cy="9144000"/>
  <p:embeddedFontLs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Calibri Light" panose="020F0302020204030204" pitchFamily="34" charset="0"/>
      <p:regular r:id="rId15"/>
      <p:italic r:id="rId16"/>
    </p:embeddedFont>
    <p:embeddedFont>
      <p:font typeface="Segoe UI" panose="020B0502040204020203" pitchFamily="34" charset="0"/>
      <p:regular r:id="rId17"/>
      <p:bold r:id="rId18"/>
      <p:italic r:id="rId19"/>
      <p:boldItalic r:id="rId20"/>
    </p:embeddedFont>
    <p:embeddedFont>
      <p:font typeface="Segoe UI Black" panose="020B0A02040204020203" pitchFamily="34" charset="0"/>
      <p:bold r:id="rId21"/>
      <p:boldItalic r:id="rId22"/>
    </p:embeddedFont>
  </p:embeddedFontLst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571CB"/>
    <a:srgbClr val="D93D36"/>
    <a:srgbClr val="5A68C4"/>
    <a:srgbClr val="255577"/>
    <a:srgbClr val="A6ACE4"/>
    <a:srgbClr val="7983D7"/>
    <a:srgbClr val="4757B8"/>
    <a:srgbClr val="2F2F37"/>
    <a:srgbClr val="1E1E24"/>
    <a:srgbClr val="EBEC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0" autoAdjust="0"/>
    <p:restoredTop sz="94660"/>
  </p:normalViewPr>
  <p:slideViewPr>
    <p:cSldViewPr snapToGrid="0" showGuides="1">
      <p:cViewPr varScale="1">
        <p:scale>
          <a:sx n="104" d="100"/>
          <a:sy n="104" d="100"/>
        </p:scale>
        <p:origin x="144" y="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11.fntdata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23" Type="http://schemas.openxmlformats.org/officeDocument/2006/relationships/tags" Target="tags/tag1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9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081165-D7CC-4114-9AEA-BA9A3883B4AF}" type="datetimeFigureOut">
              <a:rPr lang="en-US" smtClean="0"/>
              <a:t>3/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89F812-2989-4AC2-9550-F5B672FA74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0887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5112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53967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0144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1653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90466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1047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98669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005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1BE2CB-927E-4ECA-A119-454FF0E510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6707F5D-E9A0-4285-87E8-812FCADD7B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237A60-CFF9-48B6-BF9B-62E74659A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3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162D13-DE68-4BBC-8E1A-ECA63044F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6C8BED-487E-4C3B-8BED-9E2E7E9EC1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1191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86ECE3-2645-4BAA-83C6-EBB973F5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97DD8A-AA9D-4746-A3FC-42FE7D88E3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7E522-C4D4-430C-8FBF-B78769A260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3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6E5A2E-6573-46A5-B5F8-BD6277988B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D36C4-049A-43F2-9676-C014FB3FBE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18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9210B78-E646-4F72-A11C-7D9EB35C9F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82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38C4BB2-4A95-4E4F-9698-B1397883C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09A3F2-C53C-41CA-8076-D83B5A5D11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135310-5DAF-461F-8684-B97F73D133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D6AC30-AA56-4AB3-A866-C9468BDABC33}" type="datetimeFigureOut">
              <a:rPr lang="en-US" smtClean="0"/>
              <a:t>3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C6FE24-00FE-4015-8546-DA1E145F94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43A640-4814-441A-9CA3-D424EBCB30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217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7368" userDrawn="1">
          <p15:clr>
            <a:srgbClr val="F26B43"/>
          </p15:clr>
        </p15:guide>
        <p15:guide id="4" pos="3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microsoft.com/office/2007/relationships/hdphoto" Target="../media/hdphoto2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microsoft.com/office/2007/relationships/hdphoto" Target="../media/hdphoto2.wdp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4.png"/><Relationship Id="rId10" Type="http://schemas.microsoft.com/office/2007/relationships/hdphoto" Target="../media/hdphoto4.wdp"/><Relationship Id="rId4" Type="http://schemas.openxmlformats.org/officeDocument/2006/relationships/image" Target="../media/image15.jpeg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5.jpeg"/><Relationship Id="rId7" Type="http://schemas.microsoft.com/office/2007/relationships/hdphoto" Target="../media/hdphoto5.wdp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11" Type="http://schemas.microsoft.com/office/2007/relationships/hdphoto" Target="../media/hdphoto7.wdp"/><Relationship Id="rId5" Type="http://schemas.microsoft.com/office/2007/relationships/hdphoto" Target="../media/hdphoto2.wdp"/><Relationship Id="rId10" Type="http://schemas.openxmlformats.org/officeDocument/2006/relationships/image" Target="../media/image20.png"/><Relationship Id="rId4" Type="http://schemas.openxmlformats.org/officeDocument/2006/relationships/image" Target="../media/image4.png"/><Relationship Id="rId9" Type="http://schemas.microsoft.com/office/2007/relationships/hdphoto" Target="../media/hdphoto6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microsoft.com/office/2007/relationships/hdphoto" Target="../media/hdphoto12.wdp"/><Relationship Id="rId3" Type="http://schemas.openxmlformats.org/officeDocument/2006/relationships/image" Target="../media/image15.jpeg"/><Relationship Id="rId7" Type="http://schemas.microsoft.com/office/2007/relationships/hdphoto" Target="../media/hdphoto9.wdp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11" Type="http://schemas.microsoft.com/office/2007/relationships/hdphoto" Target="../media/hdphoto11.wdp"/><Relationship Id="rId5" Type="http://schemas.microsoft.com/office/2007/relationships/hdphoto" Target="../media/hdphoto8.wdp"/><Relationship Id="rId10" Type="http://schemas.openxmlformats.org/officeDocument/2006/relationships/image" Target="../media/image25.png"/><Relationship Id="rId4" Type="http://schemas.openxmlformats.org/officeDocument/2006/relationships/image" Target="../media/image22.png"/><Relationship Id="rId9" Type="http://schemas.microsoft.com/office/2007/relationships/hdphoto" Target="../media/hdphoto10.wdp"/><Relationship Id="rId1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microsoft.com/office/2007/relationships/hdphoto" Target="../media/hdphoto13.wdp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7" Type="http://schemas.microsoft.com/office/2007/relationships/hdphoto" Target="../media/hdphoto2.wdp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Picture 115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8524EBF9-A132-45D2-BB0D-2C93248DF69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578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249C0BE-DA64-4358-845F-0DA8776B432B}"/>
              </a:ext>
            </a:extLst>
          </p:cNvPr>
          <p:cNvSpPr/>
          <p:nvPr/>
        </p:nvSpPr>
        <p:spPr>
          <a:xfrm>
            <a:off x="0" y="4861"/>
            <a:ext cx="12192000" cy="5257800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Title 3">
            <a:extLst>
              <a:ext uri="{FF2B5EF4-FFF2-40B4-BE49-F238E27FC236}">
                <a16:creationId xmlns:a16="http://schemas.microsoft.com/office/drawing/2014/main" id="{9B557F9A-0C3C-49F0-9227-71033CB7EA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3101" y="1939450"/>
            <a:ext cx="5452900" cy="2528175"/>
          </a:xfrm>
        </p:spPr>
        <p:txBody>
          <a:bodyPr vert="horz"/>
          <a:lstStyle/>
          <a:p>
            <a:pPr algn="l"/>
            <a:r>
              <a:rPr lang="en-US" sz="5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BILE WEBTOON APP</a:t>
            </a:r>
          </a:p>
        </p:txBody>
      </p:sp>
      <p:sp>
        <p:nvSpPr>
          <p:cNvPr id="131" name="Rectangle: Rounded Corners 130">
            <a:extLst>
              <a:ext uri="{FF2B5EF4-FFF2-40B4-BE49-F238E27FC236}">
                <a16:creationId xmlns:a16="http://schemas.microsoft.com/office/drawing/2014/main" id="{5CF1DFDE-F088-4A9E-B1A9-A7E124941399}"/>
              </a:ext>
            </a:extLst>
          </p:cNvPr>
          <p:cNvSpPr/>
          <p:nvPr/>
        </p:nvSpPr>
        <p:spPr>
          <a:xfrm>
            <a:off x="643100" y="4918550"/>
            <a:ext cx="2608262" cy="664320"/>
          </a:xfrm>
          <a:prstGeom prst="roundRect">
            <a:avLst>
              <a:gd name="adj" fmla="val 50000"/>
            </a:avLst>
          </a:prstGeom>
          <a:solidFill>
            <a:srgbClr val="657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Title 3">
            <a:extLst>
              <a:ext uri="{FF2B5EF4-FFF2-40B4-BE49-F238E27FC236}">
                <a16:creationId xmlns:a16="http://schemas.microsoft.com/office/drawing/2014/main" id="{3A8B0349-0139-417C-A873-553E9A83469F}"/>
              </a:ext>
            </a:extLst>
          </p:cNvPr>
          <p:cNvSpPr txBox="1">
            <a:spLocks/>
          </p:cNvSpPr>
          <p:nvPr/>
        </p:nvSpPr>
        <p:spPr>
          <a:xfrm>
            <a:off x="719190" y="4872050"/>
            <a:ext cx="2496647" cy="597572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EWOOCOMICS</a:t>
            </a:r>
          </a:p>
        </p:txBody>
      </p:sp>
      <p:pic>
        <p:nvPicPr>
          <p:cNvPr id="62" name="그림 61">
            <a:extLst>
              <a:ext uri="{FF2B5EF4-FFF2-40B4-BE49-F238E27FC236}">
                <a16:creationId xmlns:a16="http://schemas.microsoft.com/office/drawing/2014/main" id="{C5731D00-4BA2-40ED-9E12-8898DB9266D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9958" r="100000">
                        <a14:foregroundMark x1="28390" y1="37457" x2="38347" y2="63931"/>
                        <a14:foregroundMark x1="45551" y1="42428" x2="65042" y2="41387"/>
                        <a14:foregroundMark x1="44280" y1="18728" x2="70127" y2="46127"/>
                        <a14:foregroundMark x1="20339" y1="16069" x2="29025" y2="75029"/>
                        <a14:foregroundMark x1="48729" y1="48786" x2="46186" y2="5930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035036" y="375082"/>
            <a:ext cx="3346532" cy="6132945"/>
          </a:xfrm>
          <a:prstGeom prst="rect">
            <a:avLst/>
          </a:prstGeom>
        </p:spPr>
      </p:pic>
      <p:pic>
        <p:nvPicPr>
          <p:cNvPr id="63" name="그림 62">
            <a:extLst>
              <a:ext uri="{FF2B5EF4-FFF2-40B4-BE49-F238E27FC236}">
                <a16:creationId xmlns:a16="http://schemas.microsoft.com/office/drawing/2014/main" id="{6B3F0B6F-0743-43EA-B0B3-227F3E391A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0" r="100000">
                        <a14:foregroundMark x1="15094" y1="50465" x2="12028" y2="80698"/>
                        <a14:foregroundMark x1="52123" y1="53837" x2="38679" y2="72791"/>
                        <a14:foregroundMark x1="86557" y1="52442" x2="19104" y2="52093"/>
                        <a14:foregroundMark x1="86085" y1="73488" x2="34434" y2="70465"/>
                        <a14:foregroundMark x1="90802" y1="56860" x2="91745" y2="63023"/>
                        <a14:foregroundMark x1="78302" y1="17209" x2="13679" y2="14419"/>
                        <a14:foregroundMark x1="73349" y1="12442" x2="13443" y2="11744"/>
                        <a14:foregroundMark x1="64623" y1="6047" x2="13443" y2="8023"/>
                        <a14:foregroundMark x1="20283" y1="4767" x2="5425" y2="3837"/>
                        <a14:foregroundMark x1="73585" y1="3721" x2="91745" y2="6279"/>
                        <a14:foregroundMark x1="76887" y1="13023" x2="92925" y2="13372"/>
                        <a14:foregroundMark x1="5660" y1="13953" x2="5425" y2="83721"/>
                        <a14:foregroundMark x1="4717" y1="5465" x2="4245" y2="10698"/>
                        <a14:foregroundMark x1="4245" y1="11860" x2="4009" y2="39884"/>
                        <a14:foregroundMark x1="95755" y1="10465" x2="95283" y2="88023"/>
                        <a14:foregroundMark x1="15566" y1="80698" x2="83019" y2="80465"/>
                        <a14:foregroundMark x1="84434" y1="91860" x2="30660" y2="92674"/>
                        <a14:foregroundMark x1="86792" y1="96163" x2="12264" y2="93488"/>
                        <a14:foregroundMark x1="44340" y1="98372" x2="79953" y2="98721"/>
                        <a14:foregroundMark x1="96462" y1="39535" x2="96462" y2="53837"/>
                        <a14:foregroundMark x1="32547" y1="1628" x2="89623" y2="1628"/>
                        <a14:foregroundMark x1="90566" y1="1279" x2="67689" y2="1279"/>
                        <a14:foregroundMark x1="92217" y1="1395" x2="92217" y2="1395"/>
                        <a14:foregroundMark x1="94811" y1="2442" x2="94811" y2="2442"/>
                        <a14:foregroundMark x1="97406" y1="6512" x2="97406" y2="6512"/>
                        <a14:foregroundMark x1="97406" y1="10116" x2="97406" y2="10116"/>
                        <a14:foregroundMark x1="97642" y1="13140" x2="97642" y2="13140"/>
                        <a14:foregroundMark x1="97642" y1="16744" x2="97642" y2="16744"/>
                        <a14:foregroundMark x1="96934" y1="21977" x2="96934" y2="21977"/>
                        <a14:foregroundMark x1="98113" y1="20349" x2="98113" y2="20349"/>
                        <a14:foregroundMark x1="97170" y1="24186" x2="97170" y2="24186"/>
                        <a14:foregroundMark x1="97406" y1="27907" x2="97406" y2="27907"/>
                        <a14:foregroundMark x1="96934" y1="30465" x2="96934" y2="30465"/>
                        <a14:foregroundMark x1="97406" y1="32093" x2="97406" y2="3209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643297" y="362527"/>
            <a:ext cx="3023685" cy="6132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6096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그림 47">
            <a:extLst>
              <a:ext uri="{FF2B5EF4-FFF2-40B4-BE49-F238E27FC236}">
                <a16:creationId xmlns:a16="http://schemas.microsoft.com/office/drawing/2014/main" id="{8977A95C-A36C-496D-A042-138FECBA30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72" y="0"/>
            <a:ext cx="5004955" cy="6858000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58179C39-F8CE-404A-8AC2-6422FD639CB4}"/>
              </a:ext>
            </a:extLst>
          </p:cNvPr>
          <p:cNvSpPr/>
          <p:nvPr/>
        </p:nvSpPr>
        <p:spPr>
          <a:xfrm>
            <a:off x="0" y="0"/>
            <a:ext cx="5695838" cy="6604000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7FFDBCE7-0B52-4358-997C-C1CEC99DCA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67701" y="6492875"/>
            <a:ext cx="1047572" cy="228600"/>
          </a:xfrm>
        </p:spPr>
        <p:txBody>
          <a:bodyPr/>
          <a:lstStyle>
            <a:lvl1pPr>
              <a:defRPr sz="1050">
                <a:solidFill>
                  <a:srgbClr val="8BA8A7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r>
              <a:rPr lang="en-US" dirty="0">
                <a:solidFill>
                  <a:srgbClr val="7983D7"/>
                </a:solidFill>
              </a:rPr>
              <a:t>Slide </a:t>
            </a:r>
            <a:fld id="{B1D846AF-97CD-48E2-889D-B5106BCB5073}" type="slidenum">
              <a:rPr lang="en-US" smtClean="0">
                <a:solidFill>
                  <a:srgbClr val="7983D7"/>
                </a:solidFill>
              </a:rPr>
              <a:pPr/>
              <a:t>2</a:t>
            </a:fld>
            <a:endParaRPr lang="en-US" dirty="0">
              <a:solidFill>
                <a:srgbClr val="7983D7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418A09E-9A0B-40BB-992F-E3F1E141C3FC}"/>
              </a:ext>
            </a:extLst>
          </p:cNvPr>
          <p:cNvSpPr/>
          <p:nvPr/>
        </p:nvSpPr>
        <p:spPr>
          <a:xfrm>
            <a:off x="11972658" y="6492875"/>
            <a:ext cx="219342" cy="228600"/>
          </a:xfrm>
          <a:prstGeom prst="rect">
            <a:avLst/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itle 3">
            <a:extLst>
              <a:ext uri="{FF2B5EF4-FFF2-40B4-BE49-F238E27FC236}">
                <a16:creationId xmlns:a16="http://schemas.microsoft.com/office/drawing/2014/main" id="{74C63760-31FA-4358-8FF2-E313D42322F0}"/>
              </a:ext>
            </a:extLst>
          </p:cNvPr>
          <p:cNvSpPr txBox="1">
            <a:spLocks/>
          </p:cNvSpPr>
          <p:nvPr/>
        </p:nvSpPr>
        <p:spPr>
          <a:xfrm>
            <a:off x="541944" y="705387"/>
            <a:ext cx="3778736" cy="16591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5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ebtoon</a:t>
            </a:r>
          </a:p>
          <a:p>
            <a:r>
              <a:rPr lang="en-US" sz="55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rvice</a:t>
            </a:r>
          </a:p>
        </p:txBody>
      </p:sp>
      <p:pic>
        <p:nvPicPr>
          <p:cNvPr id="93" name="그림 92">
            <a:extLst>
              <a:ext uri="{FF2B5EF4-FFF2-40B4-BE49-F238E27FC236}">
                <a16:creationId xmlns:a16="http://schemas.microsoft.com/office/drawing/2014/main" id="{6B6B5A6F-15C4-4B0C-906B-2EAFF16C7EE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0" r="100000">
                        <a14:foregroundMark x1="15094" y1="50465" x2="12028" y2="80698"/>
                        <a14:foregroundMark x1="52123" y1="53837" x2="38679" y2="72791"/>
                        <a14:foregroundMark x1="86557" y1="52442" x2="19104" y2="52093"/>
                        <a14:foregroundMark x1="86085" y1="73488" x2="34434" y2="70465"/>
                        <a14:foregroundMark x1="90802" y1="56860" x2="91745" y2="63023"/>
                        <a14:foregroundMark x1="78302" y1="17209" x2="13679" y2="14419"/>
                        <a14:foregroundMark x1="73349" y1="12442" x2="13443" y2="11744"/>
                        <a14:foregroundMark x1="64623" y1="6047" x2="13443" y2="8023"/>
                        <a14:foregroundMark x1="20283" y1="4767" x2="5425" y2="3837"/>
                        <a14:foregroundMark x1="73585" y1="3721" x2="91745" y2="6279"/>
                        <a14:foregroundMark x1="76887" y1="13023" x2="92925" y2="13372"/>
                        <a14:foregroundMark x1="5660" y1="13953" x2="5425" y2="83721"/>
                        <a14:foregroundMark x1="4717" y1="5465" x2="4245" y2="10698"/>
                        <a14:foregroundMark x1="4245" y1="11860" x2="4009" y2="39884"/>
                        <a14:foregroundMark x1="95755" y1="10465" x2="95283" y2="88023"/>
                        <a14:foregroundMark x1="15566" y1="80698" x2="83019" y2="80465"/>
                        <a14:foregroundMark x1="84434" y1="91860" x2="30660" y2="92674"/>
                        <a14:foregroundMark x1="86792" y1="96163" x2="12264" y2="93488"/>
                        <a14:foregroundMark x1="44340" y1="98372" x2="79953" y2="98721"/>
                        <a14:foregroundMark x1="96462" y1="39535" x2="96462" y2="53837"/>
                        <a14:foregroundMark x1="32547" y1="1628" x2="89623" y2="1628"/>
                        <a14:foregroundMark x1="90566" y1="1279" x2="67689" y2="1279"/>
                        <a14:foregroundMark x1="92217" y1="1395" x2="92217" y2="1395"/>
                        <a14:foregroundMark x1="94811" y1="2442" x2="94811" y2="2442"/>
                        <a14:foregroundMark x1="97406" y1="6512" x2="97406" y2="6512"/>
                        <a14:foregroundMark x1="97406" y1="10116" x2="97406" y2="10116"/>
                        <a14:foregroundMark x1="97642" y1="13140" x2="97642" y2="13140"/>
                        <a14:foregroundMark x1="97642" y1="16744" x2="97642" y2="16744"/>
                        <a14:foregroundMark x1="96934" y1="21977" x2="96934" y2="21977"/>
                        <a14:foregroundMark x1="98113" y1="20349" x2="98113" y2="20349"/>
                        <a14:foregroundMark x1="97170" y1="24186" x2="97170" y2="24186"/>
                        <a14:foregroundMark x1="97406" y1="27907" x2="97406" y2="27907"/>
                        <a14:foregroundMark x1="96934" y1="30465" x2="96934" y2="30465"/>
                        <a14:foregroundMark x1="97406" y1="32093" x2="97406" y2="3209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100244" y="343760"/>
            <a:ext cx="2796802" cy="5672759"/>
          </a:xfrm>
          <a:prstGeom prst="rect">
            <a:avLst/>
          </a:prstGeom>
        </p:spPr>
      </p:pic>
      <p:sp>
        <p:nvSpPr>
          <p:cNvPr id="95" name="Content Placeholder 2">
            <a:extLst>
              <a:ext uri="{FF2B5EF4-FFF2-40B4-BE49-F238E27FC236}">
                <a16:creationId xmlns:a16="http://schemas.microsoft.com/office/drawing/2014/main" id="{61E2FE7E-505E-44D6-9AE6-15CFDC0C78E0}"/>
              </a:ext>
            </a:extLst>
          </p:cNvPr>
          <p:cNvSpPr txBox="1">
            <a:spLocks/>
          </p:cNvSpPr>
          <p:nvPr/>
        </p:nvSpPr>
        <p:spPr>
          <a:xfrm>
            <a:off x="4984635" y="3017094"/>
            <a:ext cx="3496989" cy="18919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sz="18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96" name="그림 95">
            <a:extLst>
              <a:ext uri="{FF2B5EF4-FFF2-40B4-BE49-F238E27FC236}">
                <a16:creationId xmlns:a16="http://schemas.microsoft.com/office/drawing/2014/main" id="{34288833-F1AF-41A8-8E84-39F41A2F64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15880" y="274438"/>
            <a:ext cx="4687355" cy="730824"/>
          </a:xfrm>
          <a:prstGeom prst="rect">
            <a:avLst/>
          </a:prstGeom>
          <a:ln w="15875" cmpd="sng">
            <a:solidFill>
              <a:schemeClr val="tx1"/>
            </a:solidFill>
          </a:ln>
        </p:spPr>
      </p:pic>
      <p:pic>
        <p:nvPicPr>
          <p:cNvPr id="97" name="그림 96">
            <a:extLst>
              <a:ext uri="{FF2B5EF4-FFF2-40B4-BE49-F238E27FC236}">
                <a16:creationId xmlns:a16="http://schemas.microsoft.com/office/drawing/2014/main" id="{C76DEDA8-5F16-4555-A8FE-E70E60B684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76137" y="676411"/>
            <a:ext cx="3670678" cy="2830272"/>
          </a:xfrm>
          <a:prstGeom prst="rect">
            <a:avLst/>
          </a:prstGeom>
          <a:ln w="15875">
            <a:solidFill>
              <a:schemeClr val="tx1"/>
            </a:solidFill>
          </a:ln>
        </p:spPr>
      </p:pic>
      <p:pic>
        <p:nvPicPr>
          <p:cNvPr id="99" name="그림 98">
            <a:extLst>
              <a:ext uri="{FF2B5EF4-FFF2-40B4-BE49-F238E27FC236}">
                <a16:creationId xmlns:a16="http://schemas.microsoft.com/office/drawing/2014/main" id="{AF43DB83-8FDA-47D5-BA10-5743184933D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83929" y="3591453"/>
            <a:ext cx="4288729" cy="951076"/>
          </a:xfrm>
          <a:prstGeom prst="rect">
            <a:avLst/>
          </a:prstGeom>
          <a:ln w="15875">
            <a:solidFill>
              <a:schemeClr val="tx1"/>
            </a:solidFill>
          </a:ln>
        </p:spPr>
      </p:pic>
      <p:sp>
        <p:nvSpPr>
          <p:cNvPr id="100" name="TextBox 99">
            <a:extLst>
              <a:ext uri="{FF2B5EF4-FFF2-40B4-BE49-F238E27FC236}">
                <a16:creationId xmlns:a16="http://schemas.microsoft.com/office/drawing/2014/main" id="{7977934B-8381-4B6B-B7BA-90D3C84A1254}"/>
              </a:ext>
            </a:extLst>
          </p:cNvPr>
          <p:cNvSpPr txBox="1"/>
          <p:nvPr/>
        </p:nvSpPr>
        <p:spPr>
          <a:xfrm>
            <a:off x="429577" y="2854710"/>
            <a:ext cx="3670667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300" dirty="0">
                <a:solidFill>
                  <a:schemeClr val="bg1"/>
                </a:solidFill>
              </a:rPr>
              <a:t>웹툰 시장은 점점 더 규모가 커지고 있다</a:t>
            </a:r>
            <a:r>
              <a:rPr lang="en-US" altLang="ko-KR" sz="2300" dirty="0">
                <a:solidFill>
                  <a:schemeClr val="bg1"/>
                </a:solidFill>
              </a:rPr>
              <a:t>.</a:t>
            </a:r>
          </a:p>
          <a:p>
            <a:r>
              <a:rPr lang="ko-KR" altLang="en-US" sz="2300" dirty="0">
                <a:solidFill>
                  <a:schemeClr val="bg1"/>
                </a:solidFill>
              </a:rPr>
              <a:t>향후 전망에 따른 서비스를</a:t>
            </a:r>
            <a:endParaRPr lang="en-US" altLang="ko-KR" sz="2300" dirty="0">
              <a:solidFill>
                <a:schemeClr val="bg1"/>
              </a:solidFill>
            </a:endParaRPr>
          </a:p>
          <a:p>
            <a:r>
              <a:rPr lang="ko-KR" altLang="en-US" sz="2300" dirty="0">
                <a:solidFill>
                  <a:schemeClr val="bg1"/>
                </a:solidFill>
              </a:rPr>
              <a:t>개발해보고자</a:t>
            </a:r>
            <a:endParaRPr lang="en-US" altLang="ko-KR" sz="2300" dirty="0">
              <a:solidFill>
                <a:schemeClr val="bg1"/>
              </a:solidFill>
            </a:endParaRPr>
          </a:p>
          <a:p>
            <a:r>
              <a:rPr lang="ko-KR" altLang="en-US" sz="2300" dirty="0">
                <a:solidFill>
                  <a:schemeClr val="bg1"/>
                </a:solidFill>
              </a:rPr>
              <a:t>웹툰 앱을 주제로 정하였다</a:t>
            </a:r>
            <a:r>
              <a:rPr lang="en-US" altLang="ko-KR" sz="2300" dirty="0">
                <a:solidFill>
                  <a:schemeClr val="bg1"/>
                </a:solidFill>
              </a:rPr>
              <a:t>.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49BA5E7-60B5-4DC9-9F2A-53ACEDEC4497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3635"/>
          <a:stretch/>
        </p:blipFill>
        <p:spPr>
          <a:xfrm>
            <a:off x="7050384" y="4619319"/>
            <a:ext cx="4545223" cy="620229"/>
          </a:xfrm>
          <a:prstGeom prst="rect">
            <a:avLst/>
          </a:prstGeom>
          <a:ln w="15875">
            <a:solidFill>
              <a:schemeClr val="tx1"/>
            </a:solidFill>
          </a:ln>
        </p:spPr>
      </p:pic>
      <p:pic>
        <p:nvPicPr>
          <p:cNvPr id="44" name="그림 43">
            <a:extLst>
              <a:ext uri="{FF2B5EF4-FFF2-40B4-BE49-F238E27FC236}">
                <a16:creationId xmlns:a16="http://schemas.microsoft.com/office/drawing/2014/main" id="{88EFE10F-35DF-4631-972A-09199703B2DB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4001"/>
          <a:stretch/>
        </p:blipFill>
        <p:spPr>
          <a:xfrm>
            <a:off x="7073942" y="1741068"/>
            <a:ext cx="4498109" cy="1434067"/>
          </a:xfrm>
          <a:prstGeom prst="rect">
            <a:avLst/>
          </a:prstGeom>
          <a:ln w="15875">
            <a:solidFill>
              <a:schemeClr val="tx1"/>
            </a:solidFill>
          </a:ln>
        </p:spPr>
      </p:pic>
      <p:pic>
        <p:nvPicPr>
          <p:cNvPr id="98" name="그림 97">
            <a:extLst>
              <a:ext uri="{FF2B5EF4-FFF2-40B4-BE49-F238E27FC236}">
                <a16:creationId xmlns:a16="http://schemas.microsoft.com/office/drawing/2014/main" id="{5783F28E-2BB3-487F-AAA0-98E24735E28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127002" y="5132501"/>
            <a:ext cx="3739172" cy="1129541"/>
          </a:xfrm>
          <a:prstGeom prst="rect">
            <a:avLst/>
          </a:prstGeom>
          <a:ln w="158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81759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 descr="A picture containing food, coffee&#10;&#10;Description automatically generated">
            <a:extLst>
              <a:ext uri="{FF2B5EF4-FFF2-40B4-BE49-F238E27FC236}">
                <a16:creationId xmlns:a16="http://schemas.microsoft.com/office/drawing/2014/main" id="{FC6A5658-46EE-4A8D-A62C-4E13114416C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54576" y="1663277"/>
            <a:ext cx="3682848" cy="3682848"/>
          </a:xfrm>
          <a:custGeom>
            <a:avLst/>
            <a:gdLst>
              <a:gd name="connsiteX0" fmla="*/ 1841424 w 3682848"/>
              <a:gd name="connsiteY0" fmla="*/ 0 h 3682848"/>
              <a:gd name="connsiteX1" fmla="*/ 3682848 w 3682848"/>
              <a:gd name="connsiteY1" fmla="*/ 1841424 h 3682848"/>
              <a:gd name="connsiteX2" fmla="*/ 1841424 w 3682848"/>
              <a:gd name="connsiteY2" fmla="*/ 3682848 h 3682848"/>
              <a:gd name="connsiteX3" fmla="*/ 0 w 3682848"/>
              <a:gd name="connsiteY3" fmla="*/ 1841424 h 3682848"/>
              <a:gd name="connsiteX4" fmla="*/ 1841424 w 3682848"/>
              <a:gd name="connsiteY4" fmla="*/ 0 h 3682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82848" h="3682848">
                <a:moveTo>
                  <a:pt x="1841424" y="0"/>
                </a:moveTo>
                <a:cubicBezTo>
                  <a:pt x="2858414" y="0"/>
                  <a:pt x="3682848" y="824434"/>
                  <a:pt x="3682848" y="1841424"/>
                </a:cubicBezTo>
                <a:cubicBezTo>
                  <a:pt x="3682848" y="2858414"/>
                  <a:pt x="2858414" y="3682848"/>
                  <a:pt x="1841424" y="3682848"/>
                </a:cubicBezTo>
                <a:cubicBezTo>
                  <a:pt x="824434" y="3682848"/>
                  <a:pt x="0" y="2858414"/>
                  <a:pt x="0" y="1841424"/>
                </a:cubicBezTo>
                <a:cubicBezTo>
                  <a:pt x="0" y="824434"/>
                  <a:pt x="824434" y="0"/>
                  <a:pt x="1841424" y="0"/>
                </a:cubicBezTo>
                <a:close/>
              </a:path>
            </a:pathLst>
          </a:custGeom>
        </p:spPr>
      </p:pic>
      <p:sp>
        <p:nvSpPr>
          <p:cNvPr id="35" name="Oval 34">
            <a:extLst>
              <a:ext uri="{FF2B5EF4-FFF2-40B4-BE49-F238E27FC236}">
                <a16:creationId xmlns:a16="http://schemas.microsoft.com/office/drawing/2014/main" id="{62EA186F-20AC-4351-AF59-54EEC9C10374}"/>
              </a:ext>
            </a:extLst>
          </p:cNvPr>
          <p:cNvSpPr/>
          <p:nvPr/>
        </p:nvSpPr>
        <p:spPr>
          <a:xfrm>
            <a:off x="4254576" y="1663277"/>
            <a:ext cx="3682848" cy="3682848"/>
          </a:xfrm>
          <a:prstGeom prst="ellipse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16BDBF-2DC1-4C7A-ABA7-5B8B5B98DB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67701" y="6492875"/>
            <a:ext cx="1047572" cy="228600"/>
          </a:xfrm>
        </p:spPr>
        <p:txBody>
          <a:bodyPr/>
          <a:lstStyle>
            <a:lvl1pPr>
              <a:defRPr sz="1050">
                <a:solidFill>
                  <a:srgbClr val="8BA8A7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r>
              <a:rPr lang="en-US" dirty="0">
                <a:solidFill>
                  <a:srgbClr val="7983D7"/>
                </a:solidFill>
              </a:rPr>
              <a:t>Slide </a:t>
            </a:r>
            <a:fld id="{B1D846AF-97CD-48E2-889D-B5106BCB5073}" type="slidenum">
              <a:rPr lang="en-US" smtClean="0">
                <a:solidFill>
                  <a:srgbClr val="7983D7"/>
                </a:solidFill>
              </a:rPr>
              <a:pPr/>
              <a:t>3</a:t>
            </a:fld>
            <a:endParaRPr lang="en-US" dirty="0">
              <a:solidFill>
                <a:srgbClr val="7983D7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90590C4-1F37-46E8-94D3-CA83F2640165}"/>
              </a:ext>
            </a:extLst>
          </p:cNvPr>
          <p:cNvSpPr/>
          <p:nvPr/>
        </p:nvSpPr>
        <p:spPr>
          <a:xfrm>
            <a:off x="11972658" y="6492875"/>
            <a:ext cx="219342" cy="228600"/>
          </a:xfrm>
          <a:prstGeom prst="rect">
            <a:avLst/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999AC18C-E849-4954-B5A6-7A53854424B1}"/>
              </a:ext>
            </a:extLst>
          </p:cNvPr>
          <p:cNvSpPr txBox="1">
            <a:spLocks/>
          </p:cNvSpPr>
          <p:nvPr/>
        </p:nvSpPr>
        <p:spPr>
          <a:xfrm>
            <a:off x="643099" y="705361"/>
            <a:ext cx="10913897" cy="8186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사용 기술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7EECC47-586A-4BFF-8568-7A51D43D7E71}"/>
              </a:ext>
            </a:extLst>
          </p:cNvPr>
          <p:cNvGrpSpPr/>
          <p:nvPr/>
        </p:nvGrpSpPr>
        <p:grpSpPr>
          <a:xfrm>
            <a:off x="692712" y="492597"/>
            <a:ext cx="622326" cy="131948"/>
            <a:chOff x="692712" y="619597"/>
            <a:chExt cx="622326" cy="131948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C123DBD-3D8E-4BD4-864F-2FA787809606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1A090ABC-C086-48B0-A80F-8F4BFF424442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3EFF71-531B-4023-9ABF-AD6DF138DAB9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0ABBA7E-8488-4E06-84DB-1F9D411B6014}"/>
              </a:ext>
            </a:extLst>
          </p:cNvPr>
          <p:cNvGrpSpPr/>
          <p:nvPr/>
        </p:nvGrpSpPr>
        <p:grpSpPr>
          <a:xfrm>
            <a:off x="4185543" y="2400435"/>
            <a:ext cx="567771" cy="567771"/>
            <a:chOff x="4254574" y="2587901"/>
            <a:chExt cx="624548" cy="624548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AA45116-1EF5-472D-A9AF-1C70A928EDBE}"/>
                </a:ext>
              </a:extLst>
            </p:cNvPr>
            <p:cNvSpPr/>
            <p:nvPr/>
          </p:nvSpPr>
          <p:spPr>
            <a:xfrm>
              <a:off x="4254574" y="2587901"/>
              <a:ext cx="624548" cy="624548"/>
            </a:xfrm>
            <a:prstGeom prst="ellipse">
              <a:avLst/>
            </a:prstGeom>
            <a:gradFill>
              <a:gsLst>
                <a:gs pos="0">
                  <a:srgbClr val="4757B8"/>
                </a:gs>
                <a:gs pos="94000">
                  <a:srgbClr val="7983D7">
                    <a:lumMod val="98000"/>
                  </a:srgbClr>
                </a:gs>
              </a:gsLst>
              <a:lin ang="8100000" scaled="1"/>
            </a:gradFill>
            <a:ln w="1016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E8B70330-FECA-46CE-819D-FCB08881E23A}"/>
                </a:ext>
              </a:extLst>
            </p:cNvPr>
            <p:cNvSpPr/>
            <p:nvPr/>
          </p:nvSpPr>
          <p:spPr>
            <a:xfrm>
              <a:off x="4328281" y="2693438"/>
              <a:ext cx="550841" cy="519011"/>
            </a:xfrm>
            <a:custGeom>
              <a:avLst/>
              <a:gdLst>
                <a:gd name="connsiteX0" fmla="*/ 470991 w 550841"/>
                <a:gd name="connsiteY0" fmla="*/ 0 h 519011"/>
                <a:gd name="connsiteX1" fmla="*/ 497510 w 550841"/>
                <a:gd name="connsiteY1" fmla="*/ 32142 h 519011"/>
                <a:gd name="connsiteX2" fmla="*/ 550841 w 550841"/>
                <a:gd name="connsiteY2" fmla="*/ 206737 h 519011"/>
                <a:gd name="connsiteX3" fmla="*/ 238567 w 550841"/>
                <a:gd name="connsiteY3" fmla="*/ 519011 h 519011"/>
                <a:gd name="connsiteX4" fmla="*/ 17756 w 550841"/>
                <a:gd name="connsiteY4" fmla="*/ 427548 h 519011"/>
                <a:gd name="connsiteX5" fmla="*/ 0 w 550841"/>
                <a:gd name="connsiteY5" fmla="*/ 406027 h 51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0841" h="519011">
                  <a:moveTo>
                    <a:pt x="470991" y="0"/>
                  </a:moveTo>
                  <a:lnTo>
                    <a:pt x="497510" y="32142"/>
                  </a:lnTo>
                  <a:cubicBezTo>
                    <a:pt x="531180" y="81981"/>
                    <a:pt x="550841" y="142063"/>
                    <a:pt x="550841" y="206737"/>
                  </a:cubicBezTo>
                  <a:cubicBezTo>
                    <a:pt x="550841" y="379201"/>
                    <a:pt x="411031" y="519011"/>
                    <a:pt x="238567" y="519011"/>
                  </a:cubicBezTo>
                  <a:cubicBezTo>
                    <a:pt x="152335" y="519011"/>
                    <a:pt x="74267" y="484059"/>
                    <a:pt x="17756" y="427548"/>
                  </a:cubicBezTo>
                  <a:lnTo>
                    <a:pt x="0" y="406027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2548E1C7-F1D4-43E4-BEF8-E1F37D79D1DC}"/>
              </a:ext>
            </a:extLst>
          </p:cNvPr>
          <p:cNvGrpSpPr/>
          <p:nvPr/>
        </p:nvGrpSpPr>
        <p:grpSpPr>
          <a:xfrm>
            <a:off x="4185543" y="4008255"/>
            <a:ext cx="567771" cy="567771"/>
            <a:chOff x="4254574" y="2587901"/>
            <a:chExt cx="624548" cy="624548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DD410138-AE0D-4482-8F5A-3BDD38C43239}"/>
                </a:ext>
              </a:extLst>
            </p:cNvPr>
            <p:cNvSpPr/>
            <p:nvPr/>
          </p:nvSpPr>
          <p:spPr>
            <a:xfrm>
              <a:off x="4254574" y="2587901"/>
              <a:ext cx="624548" cy="624548"/>
            </a:xfrm>
            <a:prstGeom prst="ellipse">
              <a:avLst/>
            </a:prstGeom>
            <a:gradFill>
              <a:gsLst>
                <a:gs pos="0">
                  <a:srgbClr val="4757B8"/>
                </a:gs>
                <a:gs pos="94000">
                  <a:srgbClr val="7983D7">
                    <a:lumMod val="98000"/>
                  </a:srgbClr>
                </a:gs>
              </a:gsLst>
              <a:lin ang="8100000" scaled="1"/>
            </a:gradFill>
            <a:ln w="1016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B545FAC-57BC-428B-AD17-D20E354B9355}"/>
                </a:ext>
              </a:extLst>
            </p:cNvPr>
            <p:cNvSpPr/>
            <p:nvPr/>
          </p:nvSpPr>
          <p:spPr>
            <a:xfrm>
              <a:off x="4328281" y="2693438"/>
              <a:ext cx="550841" cy="519011"/>
            </a:xfrm>
            <a:custGeom>
              <a:avLst/>
              <a:gdLst>
                <a:gd name="connsiteX0" fmla="*/ 470991 w 550841"/>
                <a:gd name="connsiteY0" fmla="*/ 0 h 519011"/>
                <a:gd name="connsiteX1" fmla="*/ 497510 w 550841"/>
                <a:gd name="connsiteY1" fmla="*/ 32142 h 519011"/>
                <a:gd name="connsiteX2" fmla="*/ 550841 w 550841"/>
                <a:gd name="connsiteY2" fmla="*/ 206737 h 519011"/>
                <a:gd name="connsiteX3" fmla="*/ 238567 w 550841"/>
                <a:gd name="connsiteY3" fmla="*/ 519011 h 519011"/>
                <a:gd name="connsiteX4" fmla="*/ 17756 w 550841"/>
                <a:gd name="connsiteY4" fmla="*/ 427548 h 519011"/>
                <a:gd name="connsiteX5" fmla="*/ 0 w 550841"/>
                <a:gd name="connsiteY5" fmla="*/ 406027 h 51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0841" h="519011">
                  <a:moveTo>
                    <a:pt x="470991" y="0"/>
                  </a:moveTo>
                  <a:lnTo>
                    <a:pt x="497510" y="32142"/>
                  </a:lnTo>
                  <a:cubicBezTo>
                    <a:pt x="531180" y="81981"/>
                    <a:pt x="550841" y="142063"/>
                    <a:pt x="550841" y="206737"/>
                  </a:cubicBezTo>
                  <a:cubicBezTo>
                    <a:pt x="550841" y="379201"/>
                    <a:pt x="411031" y="519011"/>
                    <a:pt x="238567" y="519011"/>
                  </a:cubicBezTo>
                  <a:cubicBezTo>
                    <a:pt x="152335" y="519011"/>
                    <a:pt x="74267" y="484059"/>
                    <a:pt x="17756" y="427548"/>
                  </a:cubicBezTo>
                  <a:lnTo>
                    <a:pt x="0" y="406027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51F5590F-5865-4B87-99D6-2FF04270D183}"/>
              </a:ext>
            </a:extLst>
          </p:cNvPr>
          <p:cNvGrpSpPr/>
          <p:nvPr/>
        </p:nvGrpSpPr>
        <p:grpSpPr>
          <a:xfrm>
            <a:off x="7413883" y="2286980"/>
            <a:ext cx="567771" cy="567771"/>
            <a:chOff x="4254574" y="2587901"/>
            <a:chExt cx="624548" cy="624548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497986E6-ACD2-491A-968C-AF514795B1F1}"/>
                </a:ext>
              </a:extLst>
            </p:cNvPr>
            <p:cNvSpPr/>
            <p:nvPr/>
          </p:nvSpPr>
          <p:spPr>
            <a:xfrm>
              <a:off x="4254574" y="2587901"/>
              <a:ext cx="624548" cy="624548"/>
            </a:xfrm>
            <a:prstGeom prst="ellipse">
              <a:avLst/>
            </a:prstGeom>
            <a:gradFill>
              <a:gsLst>
                <a:gs pos="0">
                  <a:srgbClr val="4757B8"/>
                </a:gs>
                <a:gs pos="94000">
                  <a:srgbClr val="7983D7">
                    <a:lumMod val="98000"/>
                  </a:srgbClr>
                </a:gs>
              </a:gsLst>
              <a:lin ang="8100000" scaled="1"/>
            </a:gradFill>
            <a:ln w="1016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83469D92-C7D4-44E0-A4E1-DFFF6644BE49}"/>
                </a:ext>
              </a:extLst>
            </p:cNvPr>
            <p:cNvSpPr/>
            <p:nvPr/>
          </p:nvSpPr>
          <p:spPr>
            <a:xfrm>
              <a:off x="4328281" y="2693438"/>
              <a:ext cx="550841" cy="519011"/>
            </a:xfrm>
            <a:custGeom>
              <a:avLst/>
              <a:gdLst>
                <a:gd name="connsiteX0" fmla="*/ 470991 w 550841"/>
                <a:gd name="connsiteY0" fmla="*/ 0 h 519011"/>
                <a:gd name="connsiteX1" fmla="*/ 497510 w 550841"/>
                <a:gd name="connsiteY1" fmla="*/ 32142 h 519011"/>
                <a:gd name="connsiteX2" fmla="*/ 550841 w 550841"/>
                <a:gd name="connsiteY2" fmla="*/ 206737 h 519011"/>
                <a:gd name="connsiteX3" fmla="*/ 238567 w 550841"/>
                <a:gd name="connsiteY3" fmla="*/ 519011 h 519011"/>
                <a:gd name="connsiteX4" fmla="*/ 17756 w 550841"/>
                <a:gd name="connsiteY4" fmla="*/ 427548 h 519011"/>
                <a:gd name="connsiteX5" fmla="*/ 0 w 550841"/>
                <a:gd name="connsiteY5" fmla="*/ 406027 h 51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0841" h="519011">
                  <a:moveTo>
                    <a:pt x="470991" y="0"/>
                  </a:moveTo>
                  <a:lnTo>
                    <a:pt x="497510" y="32142"/>
                  </a:lnTo>
                  <a:cubicBezTo>
                    <a:pt x="531180" y="81981"/>
                    <a:pt x="550841" y="142063"/>
                    <a:pt x="550841" y="206737"/>
                  </a:cubicBezTo>
                  <a:cubicBezTo>
                    <a:pt x="550841" y="379201"/>
                    <a:pt x="411031" y="519011"/>
                    <a:pt x="238567" y="519011"/>
                  </a:cubicBezTo>
                  <a:cubicBezTo>
                    <a:pt x="152335" y="519011"/>
                    <a:pt x="74267" y="484059"/>
                    <a:pt x="17756" y="427548"/>
                  </a:cubicBezTo>
                  <a:lnTo>
                    <a:pt x="0" y="406027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60" name="Rectangle 59">
            <a:extLst>
              <a:ext uri="{FF2B5EF4-FFF2-40B4-BE49-F238E27FC236}">
                <a16:creationId xmlns:a16="http://schemas.microsoft.com/office/drawing/2014/main" id="{0009F018-5D56-4403-8DB3-9A2F558C74C4}"/>
              </a:ext>
            </a:extLst>
          </p:cNvPr>
          <p:cNvSpPr/>
          <p:nvPr/>
        </p:nvSpPr>
        <p:spPr>
          <a:xfrm>
            <a:off x="635004" y="2052110"/>
            <a:ext cx="3341972" cy="80264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r">
              <a:spcBef>
                <a:spcPts val="600"/>
              </a:spcBef>
            </a:pPr>
            <a:r>
              <a:rPr lang="ko-KR" altLang="en-US" sz="20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개발환경</a:t>
            </a:r>
            <a:endParaRPr lang="en-US" altLang="ko-KR" sz="2000" b="0" i="0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r">
              <a:spcBef>
                <a:spcPts val="600"/>
              </a:spcBef>
            </a:pPr>
            <a:r>
              <a:rPr lang="en-US" sz="17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- React Native</a:t>
            </a:r>
          </a:p>
          <a:p>
            <a:pPr algn="r">
              <a:spcBef>
                <a:spcPts val="600"/>
              </a:spcBef>
            </a:pPr>
            <a:r>
              <a:rPr lang="en-US" sz="17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- Android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786392C1-510A-467B-865C-E843DF362A7C}"/>
              </a:ext>
            </a:extLst>
          </p:cNvPr>
          <p:cNvCxnSpPr>
            <a:cxnSpLocks/>
          </p:cNvCxnSpPr>
          <p:nvPr/>
        </p:nvCxnSpPr>
        <p:spPr>
          <a:xfrm>
            <a:off x="682906" y="3493715"/>
            <a:ext cx="328721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9" name="그림 88">
            <a:extLst>
              <a:ext uri="{FF2B5EF4-FFF2-40B4-BE49-F238E27FC236}">
                <a16:creationId xmlns:a16="http://schemas.microsoft.com/office/drawing/2014/main" id="{BD388BD5-4FAC-4A02-893B-7A72273B615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9958" r="100000">
                        <a14:foregroundMark x1="28390" y1="37457" x2="38347" y2="63931"/>
                        <a14:foregroundMark x1="45551" y1="42428" x2="65042" y2="41387"/>
                        <a14:foregroundMark x1="44280" y1="18728" x2="70127" y2="46127"/>
                        <a14:foregroundMark x1="20339" y1="16069" x2="29025" y2="75029"/>
                        <a14:foregroundMark x1="48729" y1="48786" x2="46186" y2="59306"/>
                      </a14:backgroundRemoval>
                    </a14:imgEffect>
                  </a14:imgLayer>
                </a14:imgProps>
              </a:ext>
            </a:extLst>
          </a:blip>
          <a:srcRect l="16173" t="11354" r="5719" b="11666"/>
          <a:stretch/>
        </p:blipFill>
        <p:spPr>
          <a:xfrm>
            <a:off x="5126158" y="1663276"/>
            <a:ext cx="1893818" cy="368284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7AE4EDE-2B1B-44BD-AA5E-B8AC55D52CF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9345" y="1538182"/>
            <a:ext cx="2855496" cy="4052342"/>
          </a:xfrm>
          <a:prstGeom prst="rect">
            <a:avLst/>
          </a:prstGeom>
        </p:spPr>
      </p:pic>
      <p:sp>
        <p:nvSpPr>
          <p:cNvPr id="90" name="Rectangle 59">
            <a:extLst>
              <a:ext uri="{FF2B5EF4-FFF2-40B4-BE49-F238E27FC236}">
                <a16:creationId xmlns:a16="http://schemas.microsoft.com/office/drawing/2014/main" id="{BF99D541-27CC-4E02-B338-6C5B8924D5AC}"/>
              </a:ext>
            </a:extLst>
          </p:cNvPr>
          <p:cNvSpPr/>
          <p:nvPr/>
        </p:nvSpPr>
        <p:spPr>
          <a:xfrm>
            <a:off x="782719" y="4014861"/>
            <a:ext cx="3341972" cy="80264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r">
              <a:spcBef>
                <a:spcPts val="600"/>
              </a:spcBef>
            </a:pPr>
            <a:r>
              <a:rPr lang="en-US" sz="20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I </a:t>
            </a:r>
            <a:r>
              <a:rPr lang="ko-KR" altLang="en-US" sz="20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라이브러리</a:t>
            </a:r>
            <a:endParaRPr lang="en-US" altLang="ko-KR" sz="1700" b="0" i="0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r">
              <a:spcBef>
                <a:spcPts val="600"/>
              </a:spcBef>
            </a:pPr>
            <a:r>
              <a:rPr lang="en-US" altLang="ko-KR" sz="17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- React Native Element</a:t>
            </a:r>
          </a:p>
        </p:txBody>
      </p:sp>
      <p:sp>
        <p:nvSpPr>
          <p:cNvPr id="91" name="Rectangle 59">
            <a:extLst>
              <a:ext uri="{FF2B5EF4-FFF2-40B4-BE49-F238E27FC236}">
                <a16:creationId xmlns:a16="http://schemas.microsoft.com/office/drawing/2014/main" id="{66E47627-F642-4CBB-908D-9096BD998989}"/>
              </a:ext>
            </a:extLst>
          </p:cNvPr>
          <p:cNvSpPr/>
          <p:nvPr/>
        </p:nvSpPr>
        <p:spPr>
          <a:xfrm>
            <a:off x="8162802" y="2968206"/>
            <a:ext cx="3341972" cy="80264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ko-KR" altLang="en-US" sz="20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상태관리</a:t>
            </a:r>
            <a:endParaRPr lang="en-US" sz="1700" b="0" i="0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7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 - React Hook(</a:t>
            </a:r>
            <a:r>
              <a:rPr lang="en-US" sz="17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seState</a:t>
            </a:r>
            <a:r>
              <a:rPr lang="en-US" sz="17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7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seEffect</a:t>
            </a:r>
            <a:r>
              <a:rPr lang="en-US" sz="17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</a:p>
          <a:p>
            <a:pPr>
              <a:spcBef>
                <a:spcPts val="600"/>
              </a:spcBef>
            </a:pPr>
            <a:r>
              <a:rPr lang="en-US" sz="17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 - React Redux(</a:t>
            </a:r>
            <a:r>
              <a:rPr lang="en-US" sz="17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seDispatch</a:t>
            </a:r>
            <a:r>
              <a:rPr lang="en-US" sz="17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</a:t>
            </a:r>
          </a:p>
          <a:p>
            <a:pPr>
              <a:spcBef>
                <a:spcPts val="600"/>
              </a:spcBef>
            </a:pPr>
            <a:r>
              <a:rPr lang="en-US" sz="17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    </a:t>
            </a:r>
            <a:r>
              <a:rPr lang="en-US" sz="1700" b="0" i="0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seSelector</a:t>
            </a:r>
            <a:r>
              <a:rPr lang="en-US" sz="17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</a:p>
          <a:p>
            <a:pPr>
              <a:spcBef>
                <a:spcPts val="600"/>
              </a:spcBef>
            </a:pPr>
            <a:r>
              <a:rPr lang="en-US" sz="17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 - Redux-Saga</a:t>
            </a:r>
          </a:p>
          <a:p>
            <a:pPr>
              <a:spcBef>
                <a:spcPts val="600"/>
              </a:spcBef>
            </a:pPr>
            <a:r>
              <a:rPr lang="en-US" sz="17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 - FCM(Firebase Cloud Messaging)</a:t>
            </a:r>
          </a:p>
        </p:txBody>
      </p:sp>
    </p:spTree>
    <p:extLst>
      <p:ext uri="{BB962C8B-B14F-4D97-AF65-F5344CB8AC3E}">
        <p14:creationId xmlns:p14="http://schemas.microsoft.com/office/powerpoint/2010/main" val="11287837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Image for post">
            <a:extLst>
              <a:ext uri="{FF2B5EF4-FFF2-40B4-BE49-F238E27FC236}">
                <a16:creationId xmlns:a16="http://schemas.microsoft.com/office/drawing/2014/main" id="{B95CA632-3A72-45A7-B748-AFFB9EE53E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7182" y="2768815"/>
            <a:ext cx="4627797" cy="3117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97" descr="A person using a computer&#10;&#10;Description automatically generated">
            <a:extLst>
              <a:ext uri="{FF2B5EF4-FFF2-40B4-BE49-F238E27FC236}">
                <a16:creationId xmlns:a16="http://schemas.microsoft.com/office/drawing/2014/main" id="{F5AA391A-B061-48FB-9B64-1325E940E44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2518006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A0A02496-88EA-4B41-9E5D-338FC62291EF}"/>
              </a:ext>
            </a:extLst>
          </p:cNvPr>
          <p:cNvSpPr/>
          <p:nvPr/>
        </p:nvSpPr>
        <p:spPr>
          <a:xfrm>
            <a:off x="1" y="0"/>
            <a:ext cx="12192000" cy="2518007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Slide Number Placeholder 5">
            <a:extLst>
              <a:ext uri="{FF2B5EF4-FFF2-40B4-BE49-F238E27FC236}">
                <a16:creationId xmlns:a16="http://schemas.microsoft.com/office/drawing/2014/main" id="{5D44C14F-8DFA-4C81-871D-43FB07A48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67701" y="6492875"/>
            <a:ext cx="1047572" cy="228600"/>
          </a:xfrm>
        </p:spPr>
        <p:txBody>
          <a:bodyPr/>
          <a:lstStyle>
            <a:lvl1pPr>
              <a:defRPr sz="1050">
                <a:solidFill>
                  <a:srgbClr val="8BA8A7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r>
              <a:rPr lang="en-US" dirty="0">
                <a:solidFill>
                  <a:srgbClr val="7983D7"/>
                </a:solidFill>
              </a:rPr>
              <a:t>Slide </a:t>
            </a:r>
            <a:fld id="{B1D846AF-97CD-48E2-889D-B5106BCB5073}" type="slidenum">
              <a:rPr lang="en-US" smtClean="0">
                <a:solidFill>
                  <a:srgbClr val="7983D7"/>
                </a:solidFill>
              </a:rPr>
              <a:pPr/>
              <a:t>4</a:t>
            </a:fld>
            <a:endParaRPr lang="en-US" dirty="0">
              <a:solidFill>
                <a:srgbClr val="7983D7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D6C5788-0952-4CA7-8215-5BFA5A03C7A7}"/>
              </a:ext>
            </a:extLst>
          </p:cNvPr>
          <p:cNvSpPr/>
          <p:nvPr/>
        </p:nvSpPr>
        <p:spPr>
          <a:xfrm>
            <a:off x="11972658" y="6492875"/>
            <a:ext cx="219342" cy="228600"/>
          </a:xfrm>
          <a:prstGeom prst="rect">
            <a:avLst/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Title 3">
            <a:extLst>
              <a:ext uri="{FF2B5EF4-FFF2-40B4-BE49-F238E27FC236}">
                <a16:creationId xmlns:a16="http://schemas.microsoft.com/office/drawing/2014/main" id="{EB2D913B-6EEF-4B66-9A3E-17021769FBAE}"/>
              </a:ext>
            </a:extLst>
          </p:cNvPr>
          <p:cNvSpPr txBox="1">
            <a:spLocks/>
          </p:cNvSpPr>
          <p:nvPr/>
        </p:nvSpPr>
        <p:spPr>
          <a:xfrm>
            <a:off x="5686466" y="705361"/>
            <a:ext cx="5870530" cy="12256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EA1F572A-A1EF-4760-99BD-3D49E59CD96D}"/>
              </a:ext>
            </a:extLst>
          </p:cNvPr>
          <p:cNvGrpSpPr/>
          <p:nvPr/>
        </p:nvGrpSpPr>
        <p:grpSpPr>
          <a:xfrm>
            <a:off x="5706694" y="492597"/>
            <a:ext cx="622326" cy="131948"/>
            <a:chOff x="692712" y="619597"/>
            <a:chExt cx="622326" cy="131948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A44C18AD-EF52-43D8-9871-5CDB9086FE54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53B856FE-FA6E-4CB3-9AF3-43B83EC4F156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C95FF305-0D1A-4F40-881D-24987820C343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그룹 2">
            <a:extLst>
              <a:ext uri="{FF2B5EF4-FFF2-40B4-BE49-F238E27FC236}">
                <a16:creationId xmlns:a16="http://schemas.microsoft.com/office/drawing/2014/main" id="{9F616E1C-C2C0-4A91-A707-0101E2129B63}"/>
              </a:ext>
            </a:extLst>
          </p:cNvPr>
          <p:cNvGrpSpPr/>
          <p:nvPr/>
        </p:nvGrpSpPr>
        <p:grpSpPr>
          <a:xfrm>
            <a:off x="9701092" y="1063148"/>
            <a:ext cx="2490910" cy="1161343"/>
            <a:chOff x="7227014" y="870417"/>
            <a:chExt cx="2354256" cy="1161343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B64B5CBD-83E2-481E-A386-A039406F502F}"/>
                </a:ext>
              </a:extLst>
            </p:cNvPr>
            <p:cNvSpPr/>
            <p:nvPr/>
          </p:nvSpPr>
          <p:spPr>
            <a:xfrm>
              <a:off x="7227014" y="870417"/>
              <a:ext cx="2181860" cy="402309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>
                <a:spcBef>
                  <a:spcPts val="600"/>
                </a:spcBef>
              </a:pPr>
              <a:r>
                <a:rPr lang="en-US" sz="2000" b="1" i="0" dirty="0" err="1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</a:t>
              </a:r>
              <a:r>
                <a:rPr lang="en-US" sz="2000" b="1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at-TabNavigaton</a:t>
              </a:r>
              <a:endParaRPr lang="en-US" sz="2000" b="1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E47E059F-2215-4579-9F28-6801D34F6BFC}"/>
                </a:ext>
              </a:extLst>
            </p:cNvPr>
            <p:cNvSpPr/>
            <p:nvPr/>
          </p:nvSpPr>
          <p:spPr>
            <a:xfrm>
              <a:off x="7227014" y="1282203"/>
              <a:ext cx="2354256" cy="749557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4757B8"/>
                </a:buClr>
              </a:pPr>
              <a:r>
                <a:rPr lang="en-US" sz="16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abNavigation</a:t>
              </a:r>
              <a:r>
                <a:rPr lang="ko-KR" altLang="en-US" sz="16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을 이용하여</a:t>
              </a:r>
              <a:endPara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>
                <a:spcBef>
                  <a:spcPts val="600"/>
                </a:spcBef>
                <a:buClr>
                  <a:srgbClr val="4757B8"/>
                </a:buClr>
              </a:pPr>
              <a:r>
                <a:rPr lang="en-US" altLang="ko-KR" sz="16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Home, List, Search, Actions</a:t>
              </a:r>
            </a:p>
            <a:p>
              <a:pPr>
                <a:spcBef>
                  <a:spcPts val="600"/>
                </a:spcBef>
                <a:buClr>
                  <a:srgbClr val="4757B8"/>
                </a:buClr>
              </a:pPr>
              <a:r>
                <a:rPr lang="ko-KR" altLang="en-US" sz="16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컴포넌트 렌더링</a:t>
              </a:r>
              <a:r>
                <a:rPr lang="en-US" altLang="ko-KR" sz="16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</a:p>
            <a:p>
              <a:pPr>
                <a:spcBef>
                  <a:spcPts val="600"/>
                </a:spcBef>
                <a:buClr>
                  <a:srgbClr val="4757B8"/>
                </a:buClr>
              </a:pPr>
              <a:endPara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103" name="그림 102">
            <a:extLst>
              <a:ext uri="{FF2B5EF4-FFF2-40B4-BE49-F238E27FC236}">
                <a16:creationId xmlns:a16="http://schemas.microsoft.com/office/drawing/2014/main" id="{F6A830EA-7915-4995-A379-DF00749B16E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>
                        <a14:foregroundMark x1="15094" y1="50465" x2="12028" y2="80698"/>
                        <a14:foregroundMark x1="52123" y1="53837" x2="38679" y2="72791"/>
                        <a14:foregroundMark x1="86557" y1="52442" x2="19104" y2="52093"/>
                        <a14:foregroundMark x1="86085" y1="73488" x2="34434" y2="70465"/>
                        <a14:foregroundMark x1="90802" y1="56860" x2="91745" y2="63023"/>
                        <a14:foregroundMark x1="78302" y1="17209" x2="13679" y2="14419"/>
                        <a14:foregroundMark x1="73349" y1="12442" x2="13443" y2="11744"/>
                        <a14:foregroundMark x1="64623" y1="6047" x2="13443" y2="8023"/>
                        <a14:foregroundMark x1="20283" y1="4767" x2="5425" y2="3837"/>
                        <a14:foregroundMark x1="73585" y1="3721" x2="91745" y2="6279"/>
                        <a14:foregroundMark x1="76887" y1="13023" x2="92925" y2="13372"/>
                        <a14:foregroundMark x1="5660" y1="13953" x2="5425" y2="83721"/>
                        <a14:foregroundMark x1="4717" y1="5465" x2="4245" y2="10698"/>
                        <a14:foregroundMark x1="4245" y1="11860" x2="4009" y2="39884"/>
                        <a14:foregroundMark x1="95755" y1="10465" x2="95283" y2="88023"/>
                        <a14:foregroundMark x1="15566" y1="80698" x2="83019" y2="80465"/>
                        <a14:foregroundMark x1="84434" y1="91860" x2="30660" y2="92674"/>
                        <a14:foregroundMark x1="86792" y1="96163" x2="12264" y2="93488"/>
                        <a14:foregroundMark x1="44340" y1="98372" x2="79953" y2="98721"/>
                        <a14:foregroundMark x1="96462" y1="39535" x2="96462" y2="53837"/>
                        <a14:foregroundMark x1="32547" y1="1628" x2="89623" y2="1628"/>
                        <a14:foregroundMark x1="90566" y1="1279" x2="67689" y2="1279"/>
                        <a14:foregroundMark x1="92217" y1="1395" x2="92217" y2="1395"/>
                        <a14:foregroundMark x1="94811" y1="2442" x2="94811" y2="2442"/>
                        <a14:foregroundMark x1="97406" y1="6512" x2="97406" y2="6512"/>
                        <a14:foregroundMark x1="97406" y1="10116" x2="97406" y2="10116"/>
                        <a14:foregroundMark x1="97642" y1="13140" x2="97642" y2="13140"/>
                        <a14:foregroundMark x1="97642" y1="16744" x2="97642" y2="16744"/>
                        <a14:foregroundMark x1="96934" y1="21977" x2="96934" y2="21977"/>
                        <a14:foregroundMark x1="98113" y1="20349" x2="98113" y2="20349"/>
                        <a14:foregroundMark x1="97170" y1="24186" x2="97170" y2="24186"/>
                        <a14:foregroundMark x1="97406" y1="27907" x2="97406" y2="27907"/>
                        <a14:foregroundMark x1="96934" y1="30465" x2="96934" y2="30465"/>
                        <a14:foregroundMark x1="97406" y1="32093" x2="97406" y2="3209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371" y="1113650"/>
            <a:ext cx="2476896" cy="5023892"/>
          </a:xfrm>
          <a:prstGeom prst="rect">
            <a:avLst/>
          </a:prstGeom>
        </p:spPr>
      </p:pic>
      <p:pic>
        <p:nvPicPr>
          <p:cNvPr id="105" name="그림 104">
            <a:extLst>
              <a:ext uri="{FF2B5EF4-FFF2-40B4-BE49-F238E27FC236}">
                <a16:creationId xmlns:a16="http://schemas.microsoft.com/office/drawing/2014/main" id="{7AC3E231-D66C-4595-BA2C-83A6F24C849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942" b="98058" l="10000" r="90000">
                        <a14:foregroundMark x1="18302" y1="17691" x2="78302" y2="18231"/>
                        <a14:foregroundMark x1="16226" y1="32686" x2="81132" y2="33657"/>
                        <a14:foregroundMark x1="17736" y1="42934" x2="84151" y2="44768"/>
                        <a14:foregroundMark x1="59811" y1="40669" x2="59811" y2="40669"/>
                        <a14:foregroundMark x1="18302" y1="49622" x2="78302" y2="75728"/>
                        <a14:foregroundMark x1="72075" y1="57282" x2="50943" y2="59871"/>
                        <a14:foregroundMark x1="29811" y1="63862" x2="31321" y2="73139"/>
                        <a14:foregroundMark x1="27358" y1="63538" x2="23019" y2="64725"/>
                        <a14:foregroundMark x1="34151" y1="62891" x2="32264" y2="6763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67985" y="815850"/>
            <a:ext cx="3212870" cy="5619492"/>
          </a:xfrm>
          <a:prstGeom prst="rect">
            <a:avLst/>
          </a:prstGeom>
        </p:spPr>
      </p:pic>
      <p:pic>
        <p:nvPicPr>
          <p:cNvPr id="104" name="그림 103">
            <a:extLst>
              <a:ext uri="{FF2B5EF4-FFF2-40B4-BE49-F238E27FC236}">
                <a16:creationId xmlns:a16="http://schemas.microsoft.com/office/drawing/2014/main" id="{C15908AF-77FC-4A77-9CCB-5A5D652A939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2623" b="99235" l="9916" r="89916">
                        <a14:foregroundMark x1="19832" y1="16066" x2="75630" y2="16284"/>
                        <a14:foregroundMark x1="76303" y1="16393" x2="77143" y2="81421"/>
                        <a14:foregroundMark x1="77143" y1="81421" x2="19832" y2="81421"/>
                        <a14:foregroundMark x1="19832" y1="81421" x2="19496" y2="16721"/>
                        <a14:foregroundMark x1="24538" y1="19891" x2="70084" y2="21639"/>
                        <a14:foregroundMark x1="39664" y1="29399" x2="57647" y2="54754"/>
                        <a14:foregroundMark x1="54790" y1="24699" x2="32773" y2="34098"/>
                        <a14:foregroundMark x1="18319" y1="22732" x2="17815" y2="76612"/>
                        <a14:foregroundMark x1="22521" y1="71694" x2="76639" y2="7136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20436" y="670204"/>
            <a:ext cx="3659946" cy="5628314"/>
          </a:xfrm>
          <a:prstGeom prst="rect">
            <a:avLst/>
          </a:prstGeom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id="{0CB061D9-63B1-42DE-8782-98297A750823}"/>
              </a:ext>
            </a:extLst>
          </p:cNvPr>
          <p:cNvGrpSpPr/>
          <p:nvPr/>
        </p:nvGrpSpPr>
        <p:grpSpPr>
          <a:xfrm>
            <a:off x="7029358" y="1126386"/>
            <a:ext cx="2554146" cy="1142109"/>
            <a:chOff x="9600659" y="889651"/>
            <a:chExt cx="2554146" cy="1142109"/>
          </a:xfrm>
        </p:grpSpPr>
        <p:sp>
          <p:nvSpPr>
            <p:cNvPr id="106" name="Rectangle 82">
              <a:extLst>
                <a:ext uri="{FF2B5EF4-FFF2-40B4-BE49-F238E27FC236}">
                  <a16:creationId xmlns:a16="http://schemas.microsoft.com/office/drawing/2014/main" id="{AE38F145-871B-4EF9-B0A6-88B3C3E3A54D}"/>
                </a:ext>
              </a:extLst>
            </p:cNvPr>
            <p:cNvSpPr/>
            <p:nvPr/>
          </p:nvSpPr>
          <p:spPr>
            <a:xfrm>
              <a:off x="9600659" y="889651"/>
              <a:ext cx="2554146" cy="402309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>
                <a:spcBef>
                  <a:spcPts val="600"/>
                </a:spcBef>
              </a:pPr>
              <a:r>
                <a:rPr lang="en-US" sz="2000" b="1" i="0" dirty="0" err="1">
                  <a:solidFill>
                    <a:schemeClr val="bg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</a:t>
              </a:r>
              <a:r>
                <a:rPr lang="en-US" sz="2000" b="1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at-StackNavigaton</a:t>
              </a:r>
              <a:endParaRPr lang="en-US" sz="2000" b="1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7" name="Rectangle 84">
              <a:extLst>
                <a:ext uri="{FF2B5EF4-FFF2-40B4-BE49-F238E27FC236}">
                  <a16:creationId xmlns:a16="http://schemas.microsoft.com/office/drawing/2014/main" id="{DC727DCD-124F-4784-BE02-26BBFA5F4981}"/>
                </a:ext>
              </a:extLst>
            </p:cNvPr>
            <p:cNvSpPr/>
            <p:nvPr/>
          </p:nvSpPr>
          <p:spPr>
            <a:xfrm>
              <a:off x="9625887" y="1282203"/>
              <a:ext cx="2528918" cy="749557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4757B8"/>
                </a:buClr>
              </a:pPr>
              <a:r>
                <a:rPr lang="en-US" sz="16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ackNavigation</a:t>
              </a:r>
              <a:r>
                <a:rPr lang="ko-KR" altLang="en-US" sz="16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을 이용하여</a:t>
              </a:r>
              <a:endPara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>
                <a:spcBef>
                  <a:spcPts val="600"/>
                </a:spcBef>
                <a:buClr>
                  <a:srgbClr val="4757B8"/>
                </a:buClr>
              </a:pPr>
              <a:r>
                <a:rPr lang="ko-KR" altLang="en-US" sz="16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웹툰 상세화면</a:t>
              </a:r>
              <a:r>
                <a:rPr lang="en-US" altLang="ko-KR" sz="16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ko-KR" altLang="en-US" sz="16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웹툰의 </a:t>
              </a:r>
              <a:r>
                <a:rPr lang="ko-KR" altLang="en-US" sz="16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회차</a:t>
              </a:r>
              <a:r>
                <a:rPr lang="ko-KR" altLang="en-US" sz="16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상세화면으로 이동</a:t>
              </a:r>
              <a:endPara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cxnSp>
        <p:nvCxnSpPr>
          <p:cNvPr id="108" name="Straight Connector 64">
            <a:extLst>
              <a:ext uri="{FF2B5EF4-FFF2-40B4-BE49-F238E27FC236}">
                <a16:creationId xmlns:a16="http://schemas.microsoft.com/office/drawing/2014/main" id="{44C8095E-BAEA-48EE-A86D-B1323AE2947A}"/>
              </a:ext>
            </a:extLst>
          </p:cNvPr>
          <p:cNvCxnSpPr>
            <a:cxnSpLocks/>
          </p:cNvCxnSpPr>
          <p:nvPr/>
        </p:nvCxnSpPr>
        <p:spPr>
          <a:xfrm>
            <a:off x="9610628" y="1126386"/>
            <a:ext cx="0" cy="128488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72995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" name="Picture 97" descr="A person using a computer&#10;&#10;Description automatically generated">
            <a:extLst>
              <a:ext uri="{FF2B5EF4-FFF2-40B4-BE49-F238E27FC236}">
                <a16:creationId xmlns:a16="http://schemas.microsoft.com/office/drawing/2014/main" id="{F5AA391A-B061-48FB-9B64-1325E940E44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2518006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A0A02496-88EA-4B41-9E5D-338FC62291EF}"/>
              </a:ext>
            </a:extLst>
          </p:cNvPr>
          <p:cNvSpPr/>
          <p:nvPr/>
        </p:nvSpPr>
        <p:spPr>
          <a:xfrm>
            <a:off x="1" y="0"/>
            <a:ext cx="12192000" cy="2518007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Slide Number Placeholder 5">
            <a:extLst>
              <a:ext uri="{FF2B5EF4-FFF2-40B4-BE49-F238E27FC236}">
                <a16:creationId xmlns:a16="http://schemas.microsoft.com/office/drawing/2014/main" id="{5D44C14F-8DFA-4C81-871D-43FB07A48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67701" y="6492875"/>
            <a:ext cx="1047572" cy="228600"/>
          </a:xfrm>
        </p:spPr>
        <p:txBody>
          <a:bodyPr/>
          <a:lstStyle>
            <a:lvl1pPr>
              <a:defRPr sz="1050">
                <a:solidFill>
                  <a:srgbClr val="8BA8A7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r>
              <a:rPr lang="en-US" dirty="0">
                <a:solidFill>
                  <a:srgbClr val="7983D7"/>
                </a:solidFill>
              </a:rPr>
              <a:t>Slide </a:t>
            </a:r>
            <a:fld id="{B1D846AF-97CD-48E2-889D-B5106BCB5073}" type="slidenum">
              <a:rPr lang="en-US" smtClean="0">
                <a:solidFill>
                  <a:srgbClr val="7983D7"/>
                </a:solidFill>
              </a:rPr>
              <a:pPr/>
              <a:t>5</a:t>
            </a:fld>
            <a:endParaRPr lang="en-US" dirty="0">
              <a:solidFill>
                <a:srgbClr val="7983D7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D6C5788-0952-4CA7-8215-5BFA5A03C7A7}"/>
              </a:ext>
            </a:extLst>
          </p:cNvPr>
          <p:cNvSpPr/>
          <p:nvPr/>
        </p:nvSpPr>
        <p:spPr>
          <a:xfrm>
            <a:off x="11972658" y="6492875"/>
            <a:ext cx="219342" cy="228600"/>
          </a:xfrm>
          <a:prstGeom prst="rect">
            <a:avLst/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Title 3">
            <a:extLst>
              <a:ext uri="{FF2B5EF4-FFF2-40B4-BE49-F238E27FC236}">
                <a16:creationId xmlns:a16="http://schemas.microsoft.com/office/drawing/2014/main" id="{EB2D913B-6EEF-4B66-9A3E-17021769FBAE}"/>
              </a:ext>
            </a:extLst>
          </p:cNvPr>
          <p:cNvSpPr txBox="1">
            <a:spLocks/>
          </p:cNvSpPr>
          <p:nvPr/>
        </p:nvSpPr>
        <p:spPr>
          <a:xfrm>
            <a:off x="5686466" y="705361"/>
            <a:ext cx="5870530" cy="12256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EA1F572A-A1EF-4760-99BD-3D49E59CD96D}"/>
              </a:ext>
            </a:extLst>
          </p:cNvPr>
          <p:cNvGrpSpPr/>
          <p:nvPr/>
        </p:nvGrpSpPr>
        <p:grpSpPr>
          <a:xfrm>
            <a:off x="5706694" y="492597"/>
            <a:ext cx="622326" cy="131948"/>
            <a:chOff x="692712" y="619597"/>
            <a:chExt cx="622326" cy="131948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A44C18AD-EF52-43D8-9871-5CDB9086FE54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53B856FE-FA6E-4CB3-9AF3-43B83EC4F156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C95FF305-0D1A-4F40-881D-24987820C343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" name="그룹 1">
            <a:extLst>
              <a:ext uri="{FF2B5EF4-FFF2-40B4-BE49-F238E27FC236}">
                <a16:creationId xmlns:a16="http://schemas.microsoft.com/office/drawing/2014/main" id="{0CB061D9-63B1-42DE-8782-98297A750823}"/>
              </a:ext>
            </a:extLst>
          </p:cNvPr>
          <p:cNvGrpSpPr/>
          <p:nvPr/>
        </p:nvGrpSpPr>
        <p:grpSpPr>
          <a:xfrm>
            <a:off x="6974388" y="457959"/>
            <a:ext cx="5035760" cy="2058408"/>
            <a:chOff x="9600659" y="889651"/>
            <a:chExt cx="3390723" cy="2058408"/>
          </a:xfrm>
        </p:grpSpPr>
        <p:sp>
          <p:nvSpPr>
            <p:cNvPr id="106" name="Rectangle 82">
              <a:extLst>
                <a:ext uri="{FF2B5EF4-FFF2-40B4-BE49-F238E27FC236}">
                  <a16:creationId xmlns:a16="http://schemas.microsoft.com/office/drawing/2014/main" id="{AE38F145-871B-4EF9-B0A6-88B3C3E3A54D}"/>
                </a:ext>
              </a:extLst>
            </p:cNvPr>
            <p:cNvSpPr/>
            <p:nvPr/>
          </p:nvSpPr>
          <p:spPr>
            <a:xfrm>
              <a:off x="9600659" y="889651"/>
              <a:ext cx="2554146" cy="402309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>
                <a:spcBef>
                  <a:spcPts val="600"/>
                </a:spcBef>
              </a:pPr>
              <a:endParaRPr lang="en-US" sz="2000" b="1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7" name="Rectangle 84">
              <a:extLst>
                <a:ext uri="{FF2B5EF4-FFF2-40B4-BE49-F238E27FC236}">
                  <a16:creationId xmlns:a16="http://schemas.microsoft.com/office/drawing/2014/main" id="{DC727DCD-124F-4784-BE02-26BBFA5F4981}"/>
                </a:ext>
              </a:extLst>
            </p:cNvPr>
            <p:cNvSpPr/>
            <p:nvPr/>
          </p:nvSpPr>
          <p:spPr>
            <a:xfrm>
              <a:off x="9600659" y="1447487"/>
              <a:ext cx="3390723" cy="1500572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4757B8"/>
                </a:buClr>
              </a:pPr>
              <a:r>
                <a:rPr lang="en-US" altLang="ko-KR" sz="2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PI</a:t>
              </a:r>
              <a:r>
                <a:rPr lang="ko-KR" altLang="en-US" sz="2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와 </a:t>
              </a:r>
              <a:r>
                <a:rPr lang="en-US" altLang="ko-KR" sz="2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HOOK</a:t>
              </a:r>
              <a:r>
                <a:rPr lang="ko-KR" altLang="en-US" sz="2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을 이용하여 데이터 연동</a:t>
              </a:r>
              <a:endParaRPr lang="en-US" altLang="ko-KR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>
                <a:spcBef>
                  <a:spcPts val="600"/>
                </a:spcBef>
                <a:buClr>
                  <a:srgbClr val="4757B8"/>
                </a:buClr>
              </a:pPr>
              <a:r>
                <a:rPr lang="ko-KR" altLang="en-US" sz="20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백엔드는</a:t>
              </a:r>
              <a:r>
                <a:rPr lang="ko-KR" altLang="en-US" sz="2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ko-KR" sz="2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json-server</a:t>
              </a:r>
              <a:r>
                <a:rPr lang="ko-KR" altLang="en-US" sz="2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를 구성</a:t>
              </a:r>
              <a:endParaRPr lang="en-US" altLang="ko-KR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32" name="그림 31">
            <a:extLst>
              <a:ext uri="{FF2B5EF4-FFF2-40B4-BE49-F238E27FC236}">
                <a16:creationId xmlns:a16="http://schemas.microsoft.com/office/drawing/2014/main" id="{71485127-7668-46FF-AF4F-AD8BADFCFC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0" r="100000">
                        <a14:foregroundMark x1="15094" y1="50465" x2="12028" y2="80698"/>
                        <a14:foregroundMark x1="52123" y1="53837" x2="38679" y2="72791"/>
                        <a14:foregroundMark x1="86557" y1="52442" x2="19104" y2="52093"/>
                        <a14:foregroundMark x1="86085" y1="73488" x2="34434" y2="70465"/>
                        <a14:foregroundMark x1="90802" y1="56860" x2="91745" y2="63023"/>
                        <a14:foregroundMark x1="78302" y1="17209" x2="13679" y2="14419"/>
                        <a14:foregroundMark x1="73349" y1="12442" x2="13443" y2="11744"/>
                        <a14:foregroundMark x1="64623" y1="6047" x2="13443" y2="8023"/>
                        <a14:foregroundMark x1="20283" y1="4767" x2="5425" y2="3837"/>
                        <a14:foregroundMark x1="73585" y1="3721" x2="91745" y2="6279"/>
                        <a14:foregroundMark x1="76887" y1="13023" x2="92925" y2="13372"/>
                        <a14:foregroundMark x1="5660" y1="13953" x2="5425" y2="83721"/>
                        <a14:foregroundMark x1="4717" y1="5465" x2="4245" y2="10698"/>
                        <a14:foregroundMark x1="4245" y1="11860" x2="4009" y2="39884"/>
                        <a14:foregroundMark x1="95755" y1="10465" x2="95283" y2="88023"/>
                        <a14:foregroundMark x1="15566" y1="80698" x2="83019" y2="80465"/>
                        <a14:foregroundMark x1="84434" y1="91860" x2="30660" y2="92674"/>
                        <a14:foregroundMark x1="86792" y1="96163" x2="12264" y2="93488"/>
                        <a14:foregroundMark x1="44340" y1="98372" x2="79953" y2="98721"/>
                        <a14:foregroundMark x1="96462" y1="39535" x2="96462" y2="53837"/>
                        <a14:foregroundMark x1="32547" y1="1628" x2="89623" y2="1628"/>
                        <a14:foregroundMark x1="90566" y1="1279" x2="67689" y2="1279"/>
                        <a14:foregroundMark x1="92217" y1="1395" x2="92217" y2="1395"/>
                        <a14:foregroundMark x1="94811" y1="2442" x2="94811" y2="2442"/>
                        <a14:foregroundMark x1="97406" y1="6512" x2="97406" y2="6512"/>
                        <a14:foregroundMark x1="97406" y1="10116" x2="97406" y2="10116"/>
                        <a14:foregroundMark x1="97642" y1="13140" x2="97642" y2="13140"/>
                        <a14:foregroundMark x1="97642" y1="16744" x2="97642" y2="16744"/>
                        <a14:foregroundMark x1="96934" y1="21977" x2="96934" y2="21977"/>
                        <a14:foregroundMark x1="98113" y1="20349" x2="98113" y2="20349"/>
                        <a14:foregroundMark x1="97170" y1="24186" x2="97170" y2="24186"/>
                        <a14:foregroundMark x1="97406" y1="27907" x2="97406" y2="27907"/>
                        <a14:foregroundMark x1="96934" y1="30465" x2="96934" y2="30465"/>
                        <a14:foregroundMark x1="97406" y1="32093" x2="97406" y2="3209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2718" y="1421990"/>
            <a:ext cx="2032574" cy="4122674"/>
          </a:xfrm>
          <a:prstGeom prst="rect">
            <a:avLst/>
          </a:prstGeom>
        </p:spPr>
      </p:pic>
      <p:pic>
        <p:nvPicPr>
          <p:cNvPr id="33" name="그림 32">
            <a:extLst>
              <a:ext uri="{FF2B5EF4-FFF2-40B4-BE49-F238E27FC236}">
                <a16:creationId xmlns:a16="http://schemas.microsoft.com/office/drawing/2014/main" id="{5A910DC1-16CA-4B2F-8C36-C45E9264533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3409" r="100000">
                        <a14:foregroundMark x1="19318" y1="21183" x2="19318" y2="80323"/>
                        <a14:foregroundMark x1="27273" y1="23118" x2="25325" y2="86882"/>
                        <a14:foregroundMark x1="38474" y1="20000" x2="40422" y2="82903"/>
                        <a14:foregroundMark x1="31006" y1="27097" x2="30844" y2="33118"/>
                        <a14:foregroundMark x1="31656" y1="65376" x2="29383" y2="72688"/>
                        <a14:foregroundMark x1="59091" y1="18925" x2="41234" y2="4612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432137" y="1167555"/>
            <a:ext cx="2957566" cy="4465156"/>
          </a:xfrm>
          <a:prstGeom prst="rect">
            <a:avLst/>
          </a:prstGeom>
        </p:spPr>
      </p:pic>
      <p:pic>
        <p:nvPicPr>
          <p:cNvPr id="34" name="그림 33">
            <a:extLst>
              <a:ext uri="{FF2B5EF4-FFF2-40B4-BE49-F238E27FC236}">
                <a16:creationId xmlns:a16="http://schemas.microsoft.com/office/drawing/2014/main" id="{12878D43-40C2-4459-90B9-63C2EC7C88F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31" b="100000" l="6441" r="99517">
                        <a14:foregroundMark x1="30596" y1="19483" x2="18680" y2="26695"/>
                        <a14:foregroundMark x1="38969" y1="20452" x2="79549" y2="20344"/>
                        <a14:foregroundMark x1="39130" y1="24543" x2="70048" y2="24112"/>
                        <a14:foregroundMark x1="22866" y1="29279" x2="64895" y2="29064"/>
                        <a14:foregroundMark x1="25926" y1="32723" x2="53301" y2="32723"/>
                        <a14:foregroundMark x1="28019" y1="26803" x2="28019" y2="26803"/>
                        <a14:foregroundMark x1="28663" y1="35307" x2="28663" y2="35307"/>
                        <a14:foregroundMark x1="31401" y1="37675" x2="31401" y2="37675"/>
                        <a14:foregroundMark x1="29630" y1="37998" x2="23833" y2="37352"/>
                        <a14:foregroundMark x1="30918" y1="44349" x2="23833" y2="46502"/>
                        <a14:foregroundMark x1="23833" y1="41119" x2="22866" y2="77718"/>
                        <a14:foregroundMark x1="32850" y1="40797" x2="28019" y2="76534"/>
                        <a14:foregroundMark x1="59259" y1="30571" x2="36232" y2="46502"/>
                        <a14:foregroundMark x1="75362" y1="30032" x2="70048" y2="8051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756603" y="1197157"/>
            <a:ext cx="3102967" cy="4435554"/>
          </a:xfrm>
          <a:prstGeom prst="rect">
            <a:avLst/>
          </a:prstGeom>
        </p:spPr>
      </p:pic>
      <p:pic>
        <p:nvPicPr>
          <p:cNvPr id="35" name="그림 34">
            <a:extLst>
              <a:ext uri="{FF2B5EF4-FFF2-40B4-BE49-F238E27FC236}">
                <a16:creationId xmlns:a16="http://schemas.microsoft.com/office/drawing/2014/main" id="{73DAF920-4C30-483D-B02D-B7C3BCCA83A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3139" b="100000" l="9892" r="89954">
                        <a14:foregroundMark x1="21793" y1="19481" x2="74498" y2="19481"/>
                        <a14:foregroundMark x1="25039" y1="24351" x2="26584" y2="80519"/>
                        <a14:foregroundMark x1="75425" y1="24675" x2="76043" y2="80628"/>
                        <a14:foregroundMark x1="31685" y1="47511" x2="27512" y2="71753"/>
                        <a14:foregroundMark x1="35858" y1="32792" x2="66615" y2="3387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399012" y="1230619"/>
            <a:ext cx="3102968" cy="4431442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CD236A6F-A2BF-4BA7-96EE-5013EC84731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974388" y="2887443"/>
            <a:ext cx="5258240" cy="2774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1624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" name="Picture 97" descr="A person using a computer&#10;&#10;Description automatically generated">
            <a:extLst>
              <a:ext uri="{FF2B5EF4-FFF2-40B4-BE49-F238E27FC236}">
                <a16:creationId xmlns:a16="http://schemas.microsoft.com/office/drawing/2014/main" id="{F5AA391A-B061-48FB-9B64-1325E940E44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2518006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A0A02496-88EA-4B41-9E5D-338FC62291EF}"/>
              </a:ext>
            </a:extLst>
          </p:cNvPr>
          <p:cNvSpPr/>
          <p:nvPr/>
        </p:nvSpPr>
        <p:spPr>
          <a:xfrm>
            <a:off x="1" y="0"/>
            <a:ext cx="12192000" cy="2518007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Slide Number Placeholder 5">
            <a:extLst>
              <a:ext uri="{FF2B5EF4-FFF2-40B4-BE49-F238E27FC236}">
                <a16:creationId xmlns:a16="http://schemas.microsoft.com/office/drawing/2014/main" id="{5D44C14F-8DFA-4C81-871D-43FB07A48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67701" y="6492875"/>
            <a:ext cx="1047572" cy="228600"/>
          </a:xfrm>
        </p:spPr>
        <p:txBody>
          <a:bodyPr/>
          <a:lstStyle>
            <a:lvl1pPr>
              <a:defRPr sz="1050">
                <a:solidFill>
                  <a:srgbClr val="8BA8A7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r>
              <a:rPr lang="en-US" dirty="0">
                <a:solidFill>
                  <a:srgbClr val="7983D7"/>
                </a:solidFill>
              </a:rPr>
              <a:t>Slide </a:t>
            </a:r>
            <a:fld id="{B1D846AF-97CD-48E2-889D-B5106BCB5073}" type="slidenum">
              <a:rPr lang="en-US" smtClean="0">
                <a:solidFill>
                  <a:srgbClr val="7983D7"/>
                </a:solidFill>
              </a:rPr>
              <a:pPr/>
              <a:t>6</a:t>
            </a:fld>
            <a:endParaRPr lang="en-US" dirty="0">
              <a:solidFill>
                <a:srgbClr val="7983D7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D6C5788-0952-4CA7-8215-5BFA5A03C7A7}"/>
              </a:ext>
            </a:extLst>
          </p:cNvPr>
          <p:cNvSpPr/>
          <p:nvPr/>
        </p:nvSpPr>
        <p:spPr>
          <a:xfrm>
            <a:off x="11972658" y="6492875"/>
            <a:ext cx="219342" cy="228600"/>
          </a:xfrm>
          <a:prstGeom prst="rect">
            <a:avLst/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Title 3">
            <a:extLst>
              <a:ext uri="{FF2B5EF4-FFF2-40B4-BE49-F238E27FC236}">
                <a16:creationId xmlns:a16="http://schemas.microsoft.com/office/drawing/2014/main" id="{EB2D913B-6EEF-4B66-9A3E-17021769FBAE}"/>
              </a:ext>
            </a:extLst>
          </p:cNvPr>
          <p:cNvSpPr txBox="1">
            <a:spLocks/>
          </p:cNvSpPr>
          <p:nvPr/>
        </p:nvSpPr>
        <p:spPr>
          <a:xfrm>
            <a:off x="5686466" y="705361"/>
            <a:ext cx="5870530" cy="12256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EA1F572A-A1EF-4760-99BD-3D49E59CD96D}"/>
              </a:ext>
            </a:extLst>
          </p:cNvPr>
          <p:cNvGrpSpPr/>
          <p:nvPr/>
        </p:nvGrpSpPr>
        <p:grpSpPr>
          <a:xfrm>
            <a:off x="5706694" y="492597"/>
            <a:ext cx="622326" cy="131948"/>
            <a:chOff x="692712" y="619597"/>
            <a:chExt cx="622326" cy="131948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A44C18AD-EF52-43D8-9871-5CDB9086FE54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53B856FE-FA6E-4CB3-9AF3-43B83EC4F156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C95FF305-0D1A-4F40-881D-24987820C343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8" name="그림 27">
            <a:extLst>
              <a:ext uri="{FF2B5EF4-FFF2-40B4-BE49-F238E27FC236}">
                <a16:creationId xmlns:a16="http://schemas.microsoft.com/office/drawing/2014/main" id="{CF3481AD-74B7-4E78-AD68-8E87D5D9B92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804" b="99239" l="9865" r="89942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85335" y="1625600"/>
            <a:ext cx="2247458" cy="3999345"/>
          </a:xfrm>
          <a:prstGeom prst="rect">
            <a:avLst/>
          </a:prstGeom>
        </p:spPr>
      </p:pic>
      <p:pic>
        <p:nvPicPr>
          <p:cNvPr id="29" name="그림 28">
            <a:extLst>
              <a:ext uri="{FF2B5EF4-FFF2-40B4-BE49-F238E27FC236}">
                <a16:creationId xmlns:a16="http://schemas.microsoft.com/office/drawing/2014/main" id="{5D24FBFE-FF9E-433B-B96D-FF960EBC02C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0" r="100000">
                        <a14:foregroundMark x1="21053" y1="84560" x2="81053" y2="84201"/>
                        <a14:foregroundMark x1="13684" y1="84919" x2="77895" y2="86715"/>
                        <a14:foregroundMark x1="12281" y1="88151" x2="78947" y2="92280"/>
                        <a14:foregroundMark x1="70526" y1="95332" x2="12281" y2="92460"/>
                        <a14:foregroundMark x1="7368" y1="81508" x2="8421" y2="5386"/>
                        <a14:foregroundMark x1="7018" y1="3950" x2="87719" y2="2693"/>
                        <a14:foregroundMark x1="86316" y1="1795" x2="14386" y2="1975"/>
                        <a14:foregroundMark x1="28772" y1="8259" x2="70877" y2="6284"/>
                        <a14:foregroundMark x1="33333" y1="10592" x2="77544" y2="9874"/>
                        <a14:foregroundMark x1="17193" y1="12388" x2="75088" y2="12567"/>
                        <a14:foregroundMark x1="86667" y1="5566" x2="85263" y2="10592"/>
                        <a14:foregroundMark x1="84912" y1="14722" x2="88070" y2="14363"/>
                        <a14:foregroundMark x1="80702" y1="12747" x2="90175" y2="12388"/>
                        <a14:foregroundMark x1="92632" y1="12747" x2="92632" y2="88510"/>
                        <a14:foregroundMark x1="93333" y1="53501" x2="94386" y2="42011"/>
                        <a14:foregroundMark x1="94386" y1="32136" x2="93684" y2="26930"/>
                        <a14:foregroundMark x1="5965" y1="42190" x2="5614" y2="4668"/>
                        <a14:foregroundMark x1="37193" y1="97487" x2="37193" y2="97487"/>
                        <a14:foregroundMark x1="42456" y1="98025" x2="42456" y2="98025"/>
                        <a14:foregroundMark x1="54035" y1="98205" x2="54035" y2="98205"/>
                        <a14:foregroundMark x1="57895" y1="97487" x2="57895" y2="97487"/>
                        <a14:foregroundMark x1="62105" y1="97487" x2="62105" y2="9748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24295" y="1403927"/>
            <a:ext cx="2159769" cy="4221018"/>
          </a:xfrm>
          <a:prstGeom prst="rect">
            <a:avLst/>
          </a:prstGeom>
        </p:spPr>
      </p:pic>
      <p:pic>
        <p:nvPicPr>
          <p:cNvPr id="30" name="그림 29">
            <a:extLst>
              <a:ext uri="{FF2B5EF4-FFF2-40B4-BE49-F238E27FC236}">
                <a16:creationId xmlns:a16="http://schemas.microsoft.com/office/drawing/2014/main" id="{C6043CB5-B2EF-41C1-98A4-F1A419212C9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31" b="99676" l="1908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918349" y="876720"/>
            <a:ext cx="3353459" cy="4942220"/>
          </a:xfrm>
          <a:prstGeom prst="rect">
            <a:avLst/>
          </a:prstGeom>
        </p:spPr>
      </p:pic>
      <p:pic>
        <p:nvPicPr>
          <p:cNvPr id="31" name="그림 30">
            <a:extLst>
              <a:ext uri="{FF2B5EF4-FFF2-40B4-BE49-F238E27FC236}">
                <a16:creationId xmlns:a16="http://schemas.microsoft.com/office/drawing/2014/main" id="{A0B105AF-8F77-4B1D-8EC8-93A57A106FB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0" b="10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704220" y="875939"/>
            <a:ext cx="3607640" cy="4943001"/>
          </a:xfrm>
          <a:prstGeom prst="rect">
            <a:avLst/>
          </a:prstGeom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id="{0CB061D9-63B1-42DE-8782-98297A750823}"/>
              </a:ext>
            </a:extLst>
          </p:cNvPr>
          <p:cNvGrpSpPr/>
          <p:nvPr/>
        </p:nvGrpSpPr>
        <p:grpSpPr>
          <a:xfrm>
            <a:off x="7176762" y="770013"/>
            <a:ext cx="5182655" cy="1688388"/>
            <a:chOff x="9545635" y="835770"/>
            <a:chExt cx="3489632" cy="1688388"/>
          </a:xfrm>
        </p:grpSpPr>
        <p:sp>
          <p:nvSpPr>
            <p:cNvPr id="106" name="Rectangle 82">
              <a:extLst>
                <a:ext uri="{FF2B5EF4-FFF2-40B4-BE49-F238E27FC236}">
                  <a16:creationId xmlns:a16="http://schemas.microsoft.com/office/drawing/2014/main" id="{AE38F145-871B-4EF9-B0A6-88B3C3E3A54D}"/>
                </a:ext>
              </a:extLst>
            </p:cNvPr>
            <p:cNvSpPr/>
            <p:nvPr/>
          </p:nvSpPr>
          <p:spPr>
            <a:xfrm>
              <a:off x="9600659" y="889651"/>
              <a:ext cx="2554146" cy="402309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>
                <a:spcBef>
                  <a:spcPts val="600"/>
                </a:spcBef>
              </a:pPr>
              <a:endParaRPr lang="en-US" sz="2000" b="1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7" name="Rectangle 84">
              <a:extLst>
                <a:ext uri="{FF2B5EF4-FFF2-40B4-BE49-F238E27FC236}">
                  <a16:creationId xmlns:a16="http://schemas.microsoft.com/office/drawing/2014/main" id="{DC727DCD-124F-4784-BE02-26BBFA5F4981}"/>
                </a:ext>
              </a:extLst>
            </p:cNvPr>
            <p:cNvSpPr/>
            <p:nvPr/>
          </p:nvSpPr>
          <p:spPr>
            <a:xfrm>
              <a:off x="9545635" y="835770"/>
              <a:ext cx="3489632" cy="1688388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4757B8"/>
                </a:buClr>
              </a:pPr>
              <a:r>
                <a:rPr lang="en-US" altLang="ko-KR" sz="2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AGA</a:t>
              </a:r>
              <a:r>
                <a:rPr lang="ko-KR" altLang="en-US" sz="2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를 이용하여 비동기 </a:t>
              </a:r>
              <a:r>
                <a:rPr lang="en-US" altLang="ko-KR" sz="2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PI</a:t>
              </a:r>
              <a:r>
                <a:rPr lang="ko-KR" altLang="en-US" sz="2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를 호출</a:t>
              </a:r>
              <a:endParaRPr lang="en-US" altLang="ko-KR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>
                <a:spcBef>
                  <a:spcPts val="600"/>
                </a:spcBef>
                <a:buClr>
                  <a:srgbClr val="4757B8"/>
                </a:buClr>
              </a:pPr>
              <a:r>
                <a:rPr lang="en-US" altLang="ko-KR" sz="2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dux </a:t>
              </a:r>
              <a:r>
                <a:rPr lang="ko-KR" altLang="en-US" sz="2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를 이용하여</a:t>
              </a:r>
              <a:r>
                <a:rPr lang="en-US" altLang="ko-KR" sz="2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ko-KR" altLang="en-US" sz="2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웹툰 별로 </a:t>
              </a:r>
              <a:r>
                <a:rPr lang="en-US" altLang="ko-KR" sz="2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ike</a:t>
              </a:r>
              <a:r>
                <a:rPr lang="ko-KR" altLang="en-US" sz="2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상태 관리</a:t>
              </a:r>
              <a:endParaRPr lang="en-US" altLang="ko-KR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>
                <a:spcBef>
                  <a:spcPts val="600"/>
                </a:spcBef>
                <a:buClr>
                  <a:srgbClr val="4757B8"/>
                </a:buClr>
              </a:pPr>
              <a:endPara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5" name="그림 4">
            <a:extLst>
              <a:ext uri="{FF2B5EF4-FFF2-40B4-BE49-F238E27FC236}">
                <a16:creationId xmlns:a16="http://schemas.microsoft.com/office/drawing/2014/main" id="{5A11757B-C9DC-4509-BEF5-23BE7329E3D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0" b="100000" l="0" r="100000">
                        <a14:foregroundMark x1="8073" y1="34943" x2="33905" y2="40407"/>
                        <a14:foregroundMark x1="29062" y1="81830" x2="39859" y2="93520"/>
                        <a14:foregroundMark x1="46821" y1="80940" x2="26034" y2="91487"/>
                        <a14:foregroundMark x1="47730" y1="96061" x2="24521" y2="94282"/>
                        <a14:foregroundMark x1="25429" y1="88691" x2="25832" y2="78780"/>
                        <a14:foregroundMark x1="26539" y1="79034" x2="41877" y2="77001"/>
                        <a14:foregroundMark x1="49546" y1="77255" x2="48840" y2="94028"/>
                        <a14:foregroundMark x1="51766" y1="82719" x2="53179" y2="99746"/>
                        <a14:foregroundMark x1="6458" y1="34943" x2="2926" y2="48412"/>
                        <a14:foregroundMark x1="15943" y1="56290" x2="15943" y2="56290"/>
                        <a14:foregroundMark x1="17053" y1="56544" x2="17053" y2="56544"/>
                        <a14:foregroundMark x1="18365" y1="59085" x2="18365" y2="59085"/>
                        <a14:foregroundMark x1="14531" y1="59339" x2="14531" y2="59339"/>
                        <a14:foregroundMark x1="16852" y1="59085" x2="16650" y2="81576"/>
                        <a14:foregroundMark x1="16448" y1="81830" x2="18466" y2="88564"/>
                        <a14:foregroundMark x1="23108" y1="87548" x2="19072" y2="87802"/>
                        <a14:foregroundMark x1="20182" y1="88310" x2="17558" y2="86404"/>
                        <a14:foregroundMark x1="21090" y1="2922" x2="18163" y2="3812"/>
                        <a14:foregroundMark x1="18163" y1="4956" x2="17053" y2="6353"/>
                        <a14:backgroundMark x1="11403" y1="8640" x2="8073" y2="14358"/>
                        <a14:backgroundMark x1="4642" y1="5845" x2="10293" y2="12579"/>
                        <a14:backgroundMark x1="8981" y1="20584" x2="3128" y2="2503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214127" y="2457307"/>
            <a:ext cx="4977872" cy="3953164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246588B6-8871-4771-919B-CD5E00B885D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464166" y="2966192"/>
            <a:ext cx="1304925" cy="257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6676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9" name="Picture 98" descr="A picture containing holding&#10;&#10;Description automatically generated">
            <a:extLst>
              <a:ext uri="{FF2B5EF4-FFF2-40B4-BE49-F238E27FC236}">
                <a16:creationId xmlns:a16="http://schemas.microsoft.com/office/drawing/2014/main" id="{BD4F60EB-0EA9-4B07-83E2-EFA69963414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60234" y="0"/>
            <a:ext cx="4225256" cy="6858000"/>
          </a:xfrm>
          <a:custGeom>
            <a:avLst/>
            <a:gdLst>
              <a:gd name="connsiteX0" fmla="*/ 2337966 w 4225256"/>
              <a:gd name="connsiteY0" fmla="*/ 0 h 6858000"/>
              <a:gd name="connsiteX1" fmla="*/ 4225254 w 4225256"/>
              <a:gd name="connsiteY1" fmla="*/ 0 h 6858000"/>
              <a:gd name="connsiteX2" fmla="*/ 4225256 w 4225256"/>
              <a:gd name="connsiteY2" fmla="*/ 6858000 h 6858000"/>
              <a:gd name="connsiteX3" fmla="*/ 3867860 w 4225256"/>
              <a:gd name="connsiteY3" fmla="*/ 6858000 h 6858000"/>
              <a:gd name="connsiteX4" fmla="*/ 169255 w 4225256"/>
              <a:gd name="connsiteY4" fmla="*/ 4999266 h 6858000"/>
              <a:gd name="connsiteX5" fmla="*/ 32767 w 4225256"/>
              <a:gd name="connsiteY5" fmla="*/ 458700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25256" h="6858000">
                <a:moveTo>
                  <a:pt x="2337966" y="0"/>
                </a:moveTo>
                <a:lnTo>
                  <a:pt x="4225254" y="0"/>
                </a:lnTo>
                <a:lnTo>
                  <a:pt x="4225256" y="6858000"/>
                </a:lnTo>
                <a:lnTo>
                  <a:pt x="3867860" y="6858000"/>
                </a:lnTo>
                <a:lnTo>
                  <a:pt x="169255" y="4999266"/>
                </a:lnTo>
                <a:cubicBezTo>
                  <a:pt x="17721" y="4923113"/>
                  <a:pt x="-43387" y="4738537"/>
                  <a:pt x="32767" y="4587003"/>
                </a:cubicBezTo>
                <a:close/>
              </a:path>
            </a:pathLst>
          </a:custGeom>
        </p:spPr>
      </p:pic>
      <p:sp>
        <p:nvSpPr>
          <p:cNvPr id="100" name="Freeform: Shape 99">
            <a:extLst>
              <a:ext uri="{FF2B5EF4-FFF2-40B4-BE49-F238E27FC236}">
                <a16:creationId xmlns:a16="http://schemas.microsoft.com/office/drawing/2014/main" id="{31215480-8860-4C85-8AF2-C7F165EA9903}"/>
              </a:ext>
            </a:extLst>
          </p:cNvPr>
          <p:cNvSpPr/>
          <p:nvPr/>
        </p:nvSpPr>
        <p:spPr>
          <a:xfrm rot="1600909">
            <a:off x="9058754" y="-138132"/>
            <a:ext cx="4765805" cy="6410853"/>
          </a:xfrm>
          <a:custGeom>
            <a:avLst/>
            <a:gdLst>
              <a:gd name="connsiteX0" fmla="*/ 0 w 4765805"/>
              <a:gd name="connsiteY0" fmla="*/ 970110 h 6410853"/>
              <a:gd name="connsiteX1" fmla="*/ 1930376 w 4765805"/>
              <a:gd name="connsiteY1" fmla="*/ 0 h 6410853"/>
              <a:gd name="connsiteX2" fmla="*/ 1686319 w 4765805"/>
              <a:gd name="connsiteY2" fmla="*/ 122651 h 6410853"/>
              <a:gd name="connsiteX3" fmla="*/ 4765805 w 4765805"/>
              <a:gd name="connsiteY3" fmla="*/ 6250369 h 6410853"/>
              <a:gd name="connsiteX4" fmla="*/ 4446464 w 4765805"/>
              <a:gd name="connsiteY4" fmla="*/ 6410853 h 6410853"/>
              <a:gd name="connsiteX5" fmla="*/ 307075 w 4765805"/>
              <a:gd name="connsiteY5" fmla="*/ 6410853 h 6410853"/>
              <a:gd name="connsiteX6" fmla="*/ 0 w 4765805"/>
              <a:gd name="connsiteY6" fmla="*/ 6103778 h 6410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65805" h="6410853">
                <a:moveTo>
                  <a:pt x="0" y="970110"/>
                </a:moveTo>
                <a:lnTo>
                  <a:pt x="1930376" y="0"/>
                </a:lnTo>
                <a:lnTo>
                  <a:pt x="1686319" y="122651"/>
                </a:lnTo>
                <a:lnTo>
                  <a:pt x="4765805" y="6250369"/>
                </a:lnTo>
                <a:lnTo>
                  <a:pt x="4446464" y="6410853"/>
                </a:lnTo>
                <a:lnTo>
                  <a:pt x="307075" y="6410853"/>
                </a:lnTo>
                <a:cubicBezTo>
                  <a:pt x="137482" y="6410853"/>
                  <a:pt x="0" y="6273371"/>
                  <a:pt x="0" y="6103778"/>
                </a:cubicBezTo>
                <a:close/>
              </a:path>
            </a:pathLst>
          </a:cu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92DBBBF-A7DF-4A50-AE67-B2A352C410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67701" y="6492875"/>
            <a:ext cx="1047572" cy="228600"/>
          </a:xfrm>
        </p:spPr>
        <p:txBody>
          <a:bodyPr/>
          <a:lstStyle>
            <a:lvl1pPr>
              <a:defRPr sz="1050">
                <a:solidFill>
                  <a:srgbClr val="8BA8A7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r>
              <a:rPr lang="en-US" dirty="0">
                <a:solidFill>
                  <a:srgbClr val="7983D7"/>
                </a:solidFill>
              </a:rPr>
              <a:t>Slide </a:t>
            </a:r>
            <a:fld id="{B1D846AF-97CD-48E2-889D-B5106BCB5073}" type="slidenum">
              <a:rPr lang="en-US" smtClean="0">
                <a:solidFill>
                  <a:srgbClr val="7983D7"/>
                </a:solidFill>
              </a:rPr>
              <a:pPr/>
              <a:t>7</a:t>
            </a:fld>
            <a:endParaRPr lang="en-US" dirty="0">
              <a:solidFill>
                <a:srgbClr val="7983D7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74B715A-82EE-4227-A9D2-D75BABC9E317}"/>
              </a:ext>
            </a:extLst>
          </p:cNvPr>
          <p:cNvSpPr/>
          <p:nvPr/>
        </p:nvSpPr>
        <p:spPr>
          <a:xfrm>
            <a:off x="11972658" y="6492875"/>
            <a:ext cx="219342" cy="228600"/>
          </a:xfrm>
          <a:prstGeom prst="rect">
            <a:avLst/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Title 3">
            <a:extLst>
              <a:ext uri="{FF2B5EF4-FFF2-40B4-BE49-F238E27FC236}">
                <a16:creationId xmlns:a16="http://schemas.microsoft.com/office/drawing/2014/main" id="{7A7CC297-B50E-4B18-B4AF-D63A2A224E30}"/>
              </a:ext>
            </a:extLst>
          </p:cNvPr>
          <p:cNvSpPr txBox="1">
            <a:spLocks/>
          </p:cNvSpPr>
          <p:nvPr/>
        </p:nvSpPr>
        <p:spPr>
          <a:xfrm>
            <a:off x="447187" y="2237645"/>
            <a:ext cx="6847669" cy="698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irebase Cloud Messaging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5EFF006-F484-4665-9BC7-A2CC3CAE2500}"/>
              </a:ext>
            </a:extLst>
          </p:cNvPr>
          <p:cNvGrpSpPr/>
          <p:nvPr/>
        </p:nvGrpSpPr>
        <p:grpSpPr>
          <a:xfrm>
            <a:off x="692712" y="619597"/>
            <a:ext cx="622326" cy="131948"/>
            <a:chOff x="692712" y="619597"/>
            <a:chExt cx="622326" cy="131948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89A7E0F2-24C5-4D10-B364-CF55BAC338B6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B32296E6-E8E4-40E3-9923-349912D9A6AA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B1C970EC-8A75-432F-8E45-54438BF4BD9E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98" name="그림 97">
            <a:extLst>
              <a:ext uri="{FF2B5EF4-FFF2-40B4-BE49-F238E27FC236}">
                <a16:creationId xmlns:a16="http://schemas.microsoft.com/office/drawing/2014/main" id="{1B21E1B6-BB6B-49C7-A2B7-57B8EBBBE22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08" b="100000" l="0" r="100000">
                        <a14:foregroundMark x1="17636" y1="21744" x2="72795" y2="27692"/>
                        <a14:foregroundMark x1="16510" y1="33128" x2="82176" y2="41333"/>
                        <a14:foregroundMark x1="78424" y1="47692" x2="75047" y2="48410"/>
                        <a14:foregroundMark x1="78049" y1="46462" x2="79550" y2="47487"/>
                        <a14:foregroundMark x1="18574" y1="52821" x2="79550" y2="7159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567207" y="71697"/>
            <a:ext cx="3866106" cy="7072145"/>
          </a:xfrm>
          <a:prstGeom prst="rect">
            <a:avLst/>
          </a:prstGeom>
        </p:spPr>
      </p:pic>
      <p:sp>
        <p:nvSpPr>
          <p:cNvPr id="101" name="Rectangle 59">
            <a:extLst>
              <a:ext uri="{FF2B5EF4-FFF2-40B4-BE49-F238E27FC236}">
                <a16:creationId xmlns:a16="http://schemas.microsoft.com/office/drawing/2014/main" id="{7F5DA28F-8A06-44D5-80D5-F164A536D66F}"/>
              </a:ext>
            </a:extLst>
          </p:cNvPr>
          <p:cNvSpPr/>
          <p:nvPr/>
        </p:nvSpPr>
        <p:spPr>
          <a:xfrm>
            <a:off x="1003875" y="3713839"/>
            <a:ext cx="3978626" cy="80264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en-US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irebase </a:t>
            </a:r>
            <a:r>
              <a:rPr lang="ko-KR" altLang="en-US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개발 콘솔에서 프로젝트를 생성하고 패키지를 추가하여 </a:t>
            </a:r>
            <a:r>
              <a:rPr lang="en-US" altLang="ko-K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loud Messaging</a:t>
            </a: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으로 </a:t>
            </a:r>
            <a:r>
              <a:rPr lang="ko-KR" altLang="en-US" sz="1800" kern="0" spc="-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맑은 고딕" panose="020B0503020000020004" pitchFamily="50" charset="-127"/>
              </a:rPr>
              <a:t>푸시 메시지를</a:t>
            </a:r>
            <a:r>
              <a:rPr lang="ko-KR" altLang="en-US" kern="0" dirty="0">
                <a:solidFill>
                  <a:schemeClr val="tx1">
                    <a:lumMod val="50000"/>
                    <a:lumOff val="50000"/>
                  </a:schemeClr>
                </a:solidFill>
                <a:ea typeface="맑은 고딕" panose="020B0503020000020004" pitchFamily="50" charset="-127"/>
              </a:rPr>
              <a:t> 구현</a:t>
            </a:r>
            <a:r>
              <a:rPr lang="en-US" altLang="ko-KR" kern="0" dirty="0">
                <a:solidFill>
                  <a:schemeClr val="tx1">
                    <a:lumMod val="50000"/>
                    <a:lumOff val="50000"/>
                  </a:schemeClr>
                </a:solidFill>
                <a:ea typeface="맑은 고딕" panose="020B0503020000020004" pitchFamily="50" charset="-127"/>
              </a:rPr>
              <a:t> </a:t>
            </a:r>
            <a:r>
              <a:rPr lang="ko-KR" altLang="en-US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en-US" sz="1700" b="0" i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27620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Picture 72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104B38CE-3B31-42F4-9B29-145C3B50680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0" y="0"/>
            <a:ext cx="12192000" cy="524365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42EB6E2-C9EB-45B8-BED6-A375365933E9}"/>
              </a:ext>
            </a:extLst>
          </p:cNvPr>
          <p:cNvSpPr/>
          <p:nvPr/>
        </p:nvSpPr>
        <p:spPr>
          <a:xfrm>
            <a:off x="0" y="0"/>
            <a:ext cx="12192000" cy="5257800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A671BDED-9331-4977-AE2A-348200944040}"/>
              </a:ext>
            </a:extLst>
          </p:cNvPr>
          <p:cNvSpPr txBox="1">
            <a:spLocks/>
          </p:cNvSpPr>
          <p:nvPr/>
        </p:nvSpPr>
        <p:spPr>
          <a:xfrm>
            <a:off x="6243800" y="1939450"/>
            <a:ext cx="5452900" cy="25281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9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</a:t>
            </a:r>
          </a:p>
          <a:p>
            <a:pPr algn="r"/>
            <a:r>
              <a:rPr lang="en-US" sz="9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OU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9AAF079-DF5B-4FC9-804F-C0C32BD9014C}"/>
              </a:ext>
            </a:extLst>
          </p:cNvPr>
          <p:cNvSpPr/>
          <p:nvPr/>
        </p:nvSpPr>
        <p:spPr>
          <a:xfrm>
            <a:off x="9043994" y="4933545"/>
            <a:ext cx="2608262" cy="66432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itle 3">
            <a:extLst>
              <a:ext uri="{FF2B5EF4-FFF2-40B4-BE49-F238E27FC236}">
                <a16:creationId xmlns:a16="http://schemas.microsoft.com/office/drawing/2014/main" id="{DEF12FA5-C3E6-405E-B9E8-116639735732}"/>
              </a:ext>
            </a:extLst>
          </p:cNvPr>
          <p:cNvSpPr txBox="1">
            <a:spLocks/>
          </p:cNvSpPr>
          <p:nvPr/>
        </p:nvSpPr>
        <p:spPr>
          <a:xfrm>
            <a:off x="9159678" y="4990033"/>
            <a:ext cx="2492578" cy="48658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EWOOCOMICS</a:t>
            </a:r>
          </a:p>
        </p:txBody>
      </p:sp>
      <p:pic>
        <p:nvPicPr>
          <p:cNvPr id="74" name="그림 73">
            <a:extLst>
              <a:ext uri="{FF2B5EF4-FFF2-40B4-BE49-F238E27FC236}">
                <a16:creationId xmlns:a16="http://schemas.microsoft.com/office/drawing/2014/main" id="{191457F1-17BD-443D-A719-9FECB41A5E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9958" r="100000">
                        <a14:foregroundMark x1="28390" y1="37457" x2="38347" y2="63931"/>
                        <a14:foregroundMark x1="45551" y1="42428" x2="65042" y2="41387"/>
                        <a14:foregroundMark x1="44280" y1="18728" x2="70127" y2="46127"/>
                        <a14:foregroundMark x1="20339" y1="16069" x2="29025" y2="75029"/>
                        <a14:foregroundMark x1="48729" y1="48786" x2="46186" y2="5930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4054" y="362527"/>
            <a:ext cx="3346532" cy="6132945"/>
          </a:xfrm>
          <a:prstGeom prst="rect">
            <a:avLst/>
          </a:prstGeom>
        </p:spPr>
      </p:pic>
      <p:pic>
        <p:nvPicPr>
          <p:cNvPr id="75" name="그림 74">
            <a:extLst>
              <a:ext uri="{FF2B5EF4-FFF2-40B4-BE49-F238E27FC236}">
                <a16:creationId xmlns:a16="http://schemas.microsoft.com/office/drawing/2014/main" id="{A09058CD-2A1E-4027-AF5E-320174DFC8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0" r="100000">
                        <a14:foregroundMark x1="15094" y1="50465" x2="12028" y2="80698"/>
                        <a14:foregroundMark x1="52123" y1="53837" x2="38679" y2="72791"/>
                        <a14:foregroundMark x1="86557" y1="52442" x2="19104" y2="52093"/>
                        <a14:foregroundMark x1="86085" y1="73488" x2="34434" y2="70465"/>
                        <a14:foregroundMark x1="90802" y1="56860" x2="91745" y2="63023"/>
                        <a14:foregroundMark x1="78302" y1="17209" x2="13679" y2="14419"/>
                        <a14:foregroundMark x1="73349" y1="12442" x2="13443" y2="11744"/>
                        <a14:foregroundMark x1="64623" y1="6047" x2="13443" y2="8023"/>
                        <a14:foregroundMark x1="20283" y1="4767" x2="5425" y2="3837"/>
                        <a14:foregroundMark x1="73585" y1="3721" x2="91745" y2="6279"/>
                        <a14:foregroundMark x1="76887" y1="13023" x2="92925" y2="13372"/>
                        <a14:foregroundMark x1="5660" y1="13953" x2="5425" y2="83721"/>
                        <a14:foregroundMark x1="4717" y1="5465" x2="4245" y2="10698"/>
                        <a14:foregroundMark x1="4245" y1="11860" x2="4009" y2="39884"/>
                        <a14:foregroundMark x1="95755" y1="10465" x2="95283" y2="88023"/>
                        <a14:foregroundMark x1="15566" y1="80698" x2="83019" y2="80465"/>
                        <a14:foregroundMark x1="84434" y1="91860" x2="30660" y2="92674"/>
                        <a14:foregroundMark x1="86792" y1="96163" x2="12264" y2="93488"/>
                        <a14:foregroundMark x1="44340" y1="98372" x2="79953" y2="98721"/>
                        <a14:foregroundMark x1="96462" y1="39535" x2="96462" y2="53837"/>
                        <a14:foregroundMark x1="32547" y1="1628" x2="89623" y2="1628"/>
                        <a14:foregroundMark x1="90566" y1="1279" x2="67689" y2="1279"/>
                        <a14:foregroundMark x1="92217" y1="1395" x2="92217" y2="1395"/>
                        <a14:foregroundMark x1="94811" y1="2442" x2="94811" y2="2442"/>
                        <a14:foregroundMark x1="97406" y1="6512" x2="97406" y2="6512"/>
                        <a14:foregroundMark x1="97406" y1="10116" x2="97406" y2="10116"/>
                        <a14:foregroundMark x1="97642" y1="13140" x2="97642" y2="13140"/>
                        <a14:foregroundMark x1="97642" y1="16744" x2="97642" y2="16744"/>
                        <a14:foregroundMark x1="96934" y1="21977" x2="96934" y2="21977"/>
                        <a14:foregroundMark x1="98113" y1="20349" x2="98113" y2="20349"/>
                        <a14:foregroundMark x1="97170" y1="24186" x2="97170" y2="24186"/>
                        <a14:foregroundMark x1="97406" y1="27907" x2="97406" y2="27907"/>
                        <a14:foregroundMark x1="96934" y1="30465" x2="96934" y2="30465"/>
                        <a14:foregroundMark x1="97406" y1="32093" x2="97406" y2="3209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072315" y="349972"/>
            <a:ext cx="3023685" cy="6132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8468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0</Words>
  <Application>Microsoft Office PowerPoint</Application>
  <PresentationFormat>와이드스크린</PresentationFormat>
  <Paragraphs>50</Paragraphs>
  <Slides>8</Slides>
  <Notes>8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8</vt:i4>
      </vt:variant>
    </vt:vector>
  </HeadingPairs>
  <TitlesOfParts>
    <vt:vector size="15" baseType="lpstr">
      <vt:lpstr>Calibri</vt:lpstr>
      <vt:lpstr>Arial</vt:lpstr>
      <vt:lpstr>Segoe UI</vt:lpstr>
      <vt:lpstr>Calibri Light</vt:lpstr>
      <vt:lpstr>Segoe UI Black</vt:lpstr>
      <vt:lpstr>Office Theme</vt:lpstr>
      <vt:lpstr>think-cell Slide</vt:lpstr>
      <vt:lpstr>MOBILE WEBTOON APP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12-02T09:20:48Z</dcterms:created>
  <dcterms:modified xsi:type="dcterms:W3CDTF">2021-03-03T08:40:05Z</dcterms:modified>
</cp:coreProperties>
</file>